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18"/>
  </p:notesMasterIdLst>
  <p:sldIdLst>
    <p:sldId id="409" r:id="rId5"/>
    <p:sldId id="394" r:id="rId6"/>
    <p:sldId id="395" r:id="rId7"/>
    <p:sldId id="400" r:id="rId8"/>
    <p:sldId id="401" r:id="rId9"/>
    <p:sldId id="412" r:id="rId10"/>
    <p:sldId id="402" r:id="rId11"/>
    <p:sldId id="410" r:id="rId12"/>
    <p:sldId id="413" r:id="rId13"/>
    <p:sldId id="256" r:id="rId14"/>
    <p:sldId id="258" r:id="rId15"/>
    <p:sldId id="259" r:id="rId16"/>
    <p:sldId id="381" r:id="rId17"/>
  </p:sldIdLst>
  <p:sldSz cx="12192000" cy="6858000"/>
  <p:notesSz cx="6858000" cy="9144000"/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harma Data Skills 301" id="{CE25109D-E847-40CA-8DEC-066DADDCD4B2}">
          <p14:sldIdLst>
            <p14:sldId id="409"/>
            <p14:sldId id="394"/>
            <p14:sldId id="395"/>
            <p14:sldId id="400"/>
            <p14:sldId id="401"/>
            <p14:sldId id="412"/>
            <p14:sldId id="402"/>
            <p14:sldId id="410"/>
            <p14:sldId id="413"/>
            <p14:sldId id="256"/>
            <p14:sldId id="258"/>
            <p14:sldId id="259"/>
            <p14:sldId id="38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64CEA7E-C07E-FAF2-B2E0-39BB02AD7B64}" name="Shinde, Samwad" initials="SS" userId="S::shindsam@merck.com::40922429-2f7d-4c1d-90df-ddf76551a42d" providerId="AD"/>
  <p188:author id="{4FCA97FB-6B76-332A-043B-AC8FCD5594B2}" name="kapoor, aditya" initials="ka" userId="S::kapooadi@merck.com::681f1a22-e9fb-42b0-aa12-aec6248a717e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rck &amp; Co., Inc." initials="LC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E70B"/>
    <a:srgbClr val="FF0000"/>
    <a:srgbClr val="00857C"/>
    <a:srgbClr val="9EA7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6192"/>
  </p:normalViewPr>
  <p:slideViewPr>
    <p:cSldViewPr snapToGrid="0" showGuides="1">
      <p:cViewPr varScale="1">
        <p:scale>
          <a:sx n="60" d="100"/>
          <a:sy n="60" d="100"/>
        </p:scale>
        <p:origin x="840" y="5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417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Invention" panose="020B0503020008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Invention" panose="020B0503020008020204" pitchFamily="34" charset="0"/>
              </a:defRPr>
            </a:lvl1pPr>
          </a:lstStyle>
          <a:p>
            <a:fld id="{9666AB04-16FE-4906-B5AE-BFF797B8155A}" type="datetimeFigureOut">
              <a:rPr lang="en-GB" smtClean="0"/>
              <a:pPr/>
              <a:t>18/09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Invention" panose="020B0503020008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Invention" panose="020B0503020008020204" pitchFamily="34" charset="0"/>
              </a:defRPr>
            </a:lvl1pPr>
          </a:lstStyle>
          <a:p>
            <a:fld id="{A2DD403B-0F6A-4C1F-AE63-FA1FF361F76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94255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12172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7939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67179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02644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28958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11439144" cy="2200275"/>
          </a:xfrm>
        </p:spPr>
        <p:txBody>
          <a:bodyPr anchor="b"/>
          <a:lstStyle>
            <a:lvl1pPr algn="l">
              <a:defRPr sz="425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11439144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522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A2A630D-D2A2-A24D-9003-1BEE64F923A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DEDCDF1C-336C-0246-BDC6-596FD9C526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111730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5508000" cy="4456113"/>
          </a:xfrm>
          <a:prstGeom prst="rect">
            <a:avLst/>
          </a:prstGeom>
        </p:spPr>
        <p:txBody>
          <a:bodyPr/>
          <a:lstStyle>
            <a:lvl1pPr>
              <a:spcBef>
                <a:spcPts val="1600"/>
              </a:spcBef>
              <a:spcAft>
                <a:spcPts val="1600"/>
              </a:spcAft>
              <a:defRPr b="1">
                <a:solidFill>
                  <a:schemeClr val="accent1"/>
                </a:solidFill>
              </a:defRPr>
            </a:lvl1pPr>
            <a:lvl2pPr marL="216000" indent="0">
              <a:spcAft>
                <a:spcPts val="0"/>
              </a:spcAft>
              <a:buNone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34BD0E-C4B5-A54B-9A77-159AD414B604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235E8A8-7A94-4D3A-8CEF-505EA93C3FA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06175" y="1925636"/>
            <a:ext cx="5508000" cy="4456113"/>
          </a:xfrm>
          <a:prstGeom prst="rect">
            <a:avLst/>
          </a:prstGeom>
        </p:spPr>
        <p:txBody>
          <a:bodyPr/>
          <a:lstStyle>
            <a:lvl1pPr>
              <a:spcBef>
                <a:spcPts val="1600"/>
              </a:spcBef>
              <a:spcAft>
                <a:spcPts val="1600"/>
              </a:spcAft>
              <a:defRPr b="1">
                <a:solidFill>
                  <a:schemeClr val="accent1"/>
                </a:solidFill>
              </a:defRPr>
            </a:lvl1pPr>
            <a:lvl2pPr marL="216000" indent="0">
              <a:spcAft>
                <a:spcPts val="0"/>
              </a:spcAft>
              <a:buNone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4892203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6"/>
            <a:ext cx="550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212C56-F55F-3546-9A1C-3F18907ADBE0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C26C6CA-6FA0-41CA-894A-BF8B4460FDF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06175" y="1925636"/>
            <a:ext cx="550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79075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95025" y="1925636"/>
            <a:ext cx="46908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1C3A2D-2FFA-A644-AC22-DEFEDD04EC5A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C26C6CA-6FA0-41CA-894A-BF8B4460FDF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23375" y="1925636"/>
            <a:ext cx="46908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DCB0DAD-1D3A-4AE1-B658-E47AEDEBDC9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77825" y="1925638"/>
            <a:ext cx="727075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8A05E0C6-0A16-44EE-A33F-CB3D25780F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306177" y="1925636"/>
            <a:ext cx="727075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3228404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684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66175" y="1925637"/>
            <a:ext cx="424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A5FAC7-D619-A54E-877A-A320E0D2E122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584744" y="6480175"/>
            <a:ext cx="229431" cy="216000"/>
          </a:xfrm>
        </p:spPr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4330522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424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74175" y="1925637"/>
            <a:ext cx="684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E677B2-E575-7548-9AE7-0387A468A294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4660808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15A4EB-7CE5-0940-A150-C0B0199CEF30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A74794FA-AA98-F44B-9C03-D9A23F686CE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92203" y="1925636"/>
            <a:ext cx="3607594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3374768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Boxed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D9207-ADC6-1148-9671-F054DC63C638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037978F-B82C-43FD-83FD-6C5528177445}"/>
              </a:ext>
            </a:extLst>
          </p:cNvPr>
          <p:cNvCxnSpPr/>
          <p:nvPr userDrawn="1"/>
        </p:nvCxnSpPr>
        <p:spPr>
          <a:xfrm>
            <a:off x="4138811" y="2779713"/>
            <a:ext cx="0" cy="34933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0E9591C-D839-480D-87AF-CCA3E39A8A12}"/>
              </a:ext>
            </a:extLst>
          </p:cNvPr>
          <p:cNvCxnSpPr/>
          <p:nvPr userDrawn="1"/>
        </p:nvCxnSpPr>
        <p:spPr>
          <a:xfrm>
            <a:off x="8053189" y="2779713"/>
            <a:ext cx="0" cy="34933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69CDDD6-A4E2-4D4C-82F0-B33A9971E13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8222" y="1925638"/>
            <a:ext cx="3606800" cy="694800"/>
          </a:xfrm>
          <a:prstGeom prst="rect">
            <a:avLst/>
          </a:prstGeo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229F3904-BD90-4349-B787-82A3653EBE8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92600" y="1925638"/>
            <a:ext cx="3606800" cy="694800"/>
          </a:xfrm>
          <a:prstGeom prst="rect">
            <a:avLst/>
          </a:prstGeo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D5749C8-BCF0-41ED-BD1F-0512A23DA9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06978" y="1925638"/>
            <a:ext cx="3606800" cy="694800"/>
          </a:xfrm>
          <a:prstGeom prst="rect">
            <a:avLst/>
          </a:prstGeo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7" name="Picture 16" descr="A close up of smoke&#10;&#10;Description automatically generated">
            <a:extLst>
              <a:ext uri="{FF2B5EF4-FFF2-40B4-BE49-F238E27FC236}">
                <a16:creationId xmlns:a16="http://schemas.microsoft.com/office/drawing/2014/main" id="{5F203263-769C-4C12-9223-2001699512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7096" y="2098506"/>
            <a:ext cx="163429" cy="346582"/>
          </a:xfrm>
          <a:prstGeom prst="rect">
            <a:avLst/>
          </a:prstGeom>
        </p:spPr>
      </p:pic>
      <p:pic>
        <p:nvPicPr>
          <p:cNvPr id="18" name="Picture 17" descr="A close up of smoke&#10;&#10;Description automatically generated">
            <a:extLst>
              <a:ext uri="{FF2B5EF4-FFF2-40B4-BE49-F238E27FC236}">
                <a16:creationId xmlns:a16="http://schemas.microsoft.com/office/drawing/2014/main" id="{67406F93-4853-495C-80C0-0EF6FE29A6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1474" y="2100987"/>
            <a:ext cx="163429" cy="346582"/>
          </a:xfrm>
          <a:prstGeom prst="rect">
            <a:avLst/>
          </a:prstGeom>
        </p:spPr>
      </p:pic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8D2CA29D-86D5-4B12-95E3-E5BA1462E5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2779714"/>
            <a:ext cx="3607594" cy="3602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21F82BA5-FD67-413D-BACC-18EB0523651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292202" y="2779714"/>
            <a:ext cx="3607594" cy="3602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CD09D3E6-36C0-430F-BA84-5003F9B4225B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06579" y="2779714"/>
            <a:ext cx="3607594" cy="3602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164515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5419" y="1925637"/>
            <a:ext cx="315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371BE7-2050-464F-B3BA-FE133C9F987C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749797" y="1925636"/>
            <a:ext cx="315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664175" y="1925636"/>
            <a:ext cx="315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1C72693-AE5F-44C4-B2DE-80193159B35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77826" y="1925638"/>
            <a:ext cx="534844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582ACADA-0A45-42F9-8B5C-1E169DE39EC3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92600" y="1920800"/>
            <a:ext cx="534844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93CC5F8C-C4D5-42BB-A445-BB440A06A61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207374" y="1915962"/>
            <a:ext cx="534844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1079465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fld id="{73EB6BEA-3975-214B-94EF-41854C90D5A9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AC93332-FCA3-4054-A844-0AC0A2544D34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DDCF90C-1CF9-4401-9944-53FD3BC1F9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accent2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accent2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8B715D9-46C4-453C-9232-C5958522C1D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accent2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accent2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F5A29A8-85A5-46D8-8F53-96CD2CDDBFB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accent2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accent2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FB21EA3-AB8A-2A4F-BBAC-105427A70A5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890959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0B3C11D-CBDE-CD44-8B22-0B01F921E311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AC93332-FCA3-4054-A844-0AC0A2544D34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7712E2F-A70E-A449-B82B-DCC15A3F49B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bg1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bg1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981C63A-E439-DC4A-B1CA-8000C08D3F4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bg1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bg1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EBE22AF-5013-184C-9B29-F1B4880E7B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bg1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bg1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F3521C8-6D7C-454E-8E2D-CDFFA7F74F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68884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4" y="377825"/>
            <a:ext cx="11439144" cy="85010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02791B-FD39-994A-ADE5-789491EECC7A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5ABDD55-8102-A442-975A-192C62CA985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4904" y="1929384"/>
            <a:ext cx="11439144" cy="4453128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9060599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7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B321EC-5A9E-F847-A031-D651CF2B8CC1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349942" y="1925636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2059" y="1925636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94175" y="1925635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1066831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63825" y="1925637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80DDC-B55F-5741-9B49-8D6EC6B4C324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835942" y="1925636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808059" y="1925636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780175" y="1925635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1B5C024-3D37-40F2-9B81-1690BB31914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77825" y="1925638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521F0D55-5210-49B5-B56F-CE30A8FB3C3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348187" y="1925635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3D09EB75-7828-4D9E-BDD9-CAE3A50CAFE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18549" y="1925632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029A3F0B-03EF-4E97-80EA-26AA53F30F63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288911" y="1925629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2527045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2779714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84689-AE6E-864F-98D0-FBE196532CB7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71942" y="2779713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166059" y="2779713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060175" y="2779712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4075B33-7825-4C60-862C-61A603CFC78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7825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3E2CDC91-E304-418C-A9D7-28AC6287D3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71629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6E66F7D4-5CDC-4402-A280-84C231E68B2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65433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8C7CB55E-AF72-47A4-A35E-3697A3A8770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59237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76966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Til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1280BA-CC8A-4013-9EA0-65BE6D1C6B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E5952D-165E-4422-B6F7-2DAF938002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F15A63-0F3E-7541-989F-B6BB8268B701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08CF89-19F1-4619-8CFD-0159853672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4262D2-A268-4FAE-B4EE-0E28085AF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3A7D77E-10EA-40B5-8684-ECAAEB1099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7825" y="1925637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3B90707-AB72-4BDF-AD03-5CEFF13586D8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5638"/>
            <a:ext cx="0" cy="445611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8EA5DCD-04DC-4410-9C6C-9AFCE3FEC069}"/>
              </a:ext>
            </a:extLst>
          </p:cNvPr>
          <p:cNvCxnSpPr>
            <a:cxnSpLocks/>
          </p:cNvCxnSpPr>
          <p:nvPr userDrawn="1"/>
        </p:nvCxnSpPr>
        <p:spPr>
          <a:xfrm>
            <a:off x="6325431" y="4153694"/>
            <a:ext cx="549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D8F22CA-E663-4B76-9B81-CB354FFB6727}"/>
              </a:ext>
            </a:extLst>
          </p:cNvPr>
          <p:cNvCxnSpPr>
            <a:cxnSpLocks/>
          </p:cNvCxnSpPr>
          <p:nvPr userDrawn="1"/>
        </p:nvCxnSpPr>
        <p:spPr>
          <a:xfrm>
            <a:off x="377824" y="4153694"/>
            <a:ext cx="549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8E28A2BE-C86F-4838-BC49-91E5E5418E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7825" y="4381945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D42EF75-B0F1-4A74-B0FB-F2AF125C263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24177" y="1925638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2E0D7A43-F952-4A55-9F18-63C5215522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24177" y="4381946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0480696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Tiled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1280BA-CC8A-4013-9EA0-65BE6D1C6B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E5952D-165E-4422-B6F7-2DAF938002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E2310-EF22-DB42-8D0E-326FE67C5C6E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08CF89-19F1-4619-8CFD-0159853672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4262D2-A268-4FAE-B4EE-0E28085AF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3A7D77E-10EA-40B5-8684-ECAAEB1099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9127" y="1925637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8E28A2BE-C86F-4838-BC49-91E5E5418E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9127" y="4381945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D42EF75-B0F1-4A74-B0FB-F2AF125C263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05479" y="1925638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2E0D7A43-F952-4A55-9F18-63C5215522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05479" y="4381946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8574B2E4-A6F8-41FA-8F1F-ECC21521DE3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77826" y="1925638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EF4EAA21-6775-4363-955A-9F4F38C86AA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24179" y="1925638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8" name="Content Placeholder 8">
            <a:extLst>
              <a:ext uri="{FF2B5EF4-FFF2-40B4-BE49-F238E27FC236}">
                <a16:creationId xmlns:a16="http://schemas.microsoft.com/office/drawing/2014/main" id="{1FCF0DB0-8AF6-4AF8-9F54-BB3F00A84188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77826" y="4381945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9" name="Content Placeholder 8">
            <a:extLst>
              <a:ext uri="{FF2B5EF4-FFF2-40B4-BE49-F238E27FC236}">
                <a16:creationId xmlns:a16="http://schemas.microsoft.com/office/drawing/2014/main" id="{BEBAAB19-15C5-44ED-923E-1ADCA4C004F7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324179" y="4381944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676952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3981600"/>
            <a:ext cx="3607594" cy="24001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F96CCB-2F86-FB47-9487-506B4DB47B74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3981600"/>
            <a:ext cx="3607594" cy="24001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3981600"/>
            <a:ext cx="3607594" cy="24001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9EA4881-2F50-4460-9F83-A86DF033A16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7825" y="1934308"/>
            <a:ext cx="11436350" cy="1730437"/>
          </a:xfrm>
          <a:prstGeom prst="rect">
            <a:avLst/>
          </a:prstGeo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6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486805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25200" y="1925638"/>
            <a:ext cx="4588975" cy="353774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30181E-1562-794C-97AC-863F5C46B16E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825" y="1925638"/>
            <a:ext cx="5718175" cy="353774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87354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2439194"/>
            <a:ext cx="4246200" cy="30241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566A35-143B-C74F-8812-12406DE193EE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52175" y="2439194"/>
            <a:ext cx="5562000" cy="302418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523670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Images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25200" y="1925637"/>
            <a:ext cx="4588975" cy="36018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077600-63C6-224A-844E-432091F8FAD3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825" y="1925638"/>
            <a:ext cx="3607200" cy="1981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373D2010-09BB-46C7-9406-54716849AF8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985419" y="3907438"/>
            <a:ext cx="2260800" cy="162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37952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Imag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4588975" cy="36018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3B8D0D-AAA4-044B-9BDD-77A9840047A1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05788" y="1925638"/>
            <a:ext cx="3607200" cy="1981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373D2010-09BB-46C7-9406-54716849AF8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44988" y="3907438"/>
            <a:ext cx="2260800" cy="162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24088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9445752" cy="2200275"/>
          </a:xfrm>
        </p:spPr>
        <p:txBody>
          <a:bodyPr anchor="b"/>
          <a:lstStyle>
            <a:lvl1pPr algn="l">
              <a:defRPr sz="42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9445752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8ADC44A-9213-B64D-A8AB-66BD30E027C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271F286-AC27-F946-A03C-5489E556B9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064" y="142876"/>
            <a:ext cx="2080060" cy="939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352635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llout/Quot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0AEE9-0A7F-4479-B507-8B8082AFB1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1227932"/>
            <a:ext cx="9445752" cy="4265503"/>
          </a:xfrm>
        </p:spPr>
        <p:txBody>
          <a:bodyPr anchor="t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D2A2D68-35A0-4566-A489-A0DCE0C90D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BBDF1-54A0-7848-BE17-E8C09DD7D4B5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FE03DFB-39D8-48D7-A3E4-B542813DF4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422642-328A-4E13-BB21-565845D770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7036F06-EA18-C44C-A97B-2279D3B41C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5513591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9445752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84D7A4D-7018-0A48-8987-4BFB6342C8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CEC296-2E91-F64C-A658-5F722A92785C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3AE9DA3B-483B-5046-BCF8-E4117B41B3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03A7C83-E23B-9145-B016-22F8693022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1C9D17F-4A01-D84A-AD4C-F3C43A80CF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5299084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8725"/>
            <a:ext cx="9445752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85336-9D22-364F-BF1E-A40BDAD628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58A72C-3345-8048-84BB-36E8B29E1D5F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E9AD67E-320D-D949-BDE9-CB17875DE3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F668672-0CA3-7343-8BF8-BABC3A102F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148F148-F7C2-E041-A072-90EB6611BB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041039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87D4353-F79D-E94B-AE2E-881A5001D6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6443B8-DE0F-FD44-8538-B0173A13CB5C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AB1989F-C117-0841-AE56-C08131A7DE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B469D0C-F673-4848-97B6-BE8BC5C414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36030242-72B6-C147-A221-DF279D6BEC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1228725"/>
            <a:ext cx="9445752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F58DCED-9CC2-A241-A902-5C1F3C42B8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5AF0BF4-8250-E446-837B-5EA9534F37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373407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1" cy="638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3C5C1224-3420-BD4C-AB03-597E49156B5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2968ACE-AF19-3041-ACD6-427E5021CCDD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30E31E45-BD7C-2244-A5AA-6B9A4DD18F0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12DB7C9-9D63-8443-A5FD-D086C0E4DD3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143410C-D5EE-774D-935A-8E4F028A50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942211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52000" y="0"/>
            <a:ext cx="4140000" cy="4384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5BD02FF6-E8C6-4907-A5E5-4B6BC63271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4384800"/>
            <a:ext cx="1956000" cy="19969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1DABA81-09CA-2445-94F5-E8C5860AE59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D9622A0-B4DA-AB4C-98CE-E6395845296C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B1A2F9A-5ACE-794A-BD66-D670CFEBB35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1B9B6D6-A74F-7342-B26B-5A03F20C864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222C5BA-E246-C240-8053-0C72324AC5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0391204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35000" y="-1"/>
            <a:ext cx="4140000" cy="359512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5BD02FF6-E8C6-4907-A5E5-4B6BC63271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275000" y="3595125"/>
            <a:ext cx="1917000" cy="170587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1798D99-AE73-44D3-BA8B-DA609105C49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30400" y="5301000"/>
            <a:ext cx="1344600" cy="1080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1295CCF-38D8-0949-8CA7-B8F50CCEBFDC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175948ED-22D6-FD45-A9F4-17FAF5946A7A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1798A22-719C-AD4E-A2E4-6E589B424B3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67CDEA8-12CF-E54D-872A-A3A7C01687C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CBABCDE-63B5-7C46-821D-F3064414E3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312127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9445752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74FF2D4-8454-424E-964D-3669665990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FD5127-EAB8-804B-8CE7-159BEF7EAD6B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BEFFA1A-D493-0248-84A1-3307B141E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B079903-BBE1-444C-BA56-1EE1904094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2F08F49-0018-894A-B2B3-3C5CDB861D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558863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ank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8725"/>
            <a:ext cx="9445752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7FC7E27-D871-8949-9F84-A0609968C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63785C-D633-4C44-AC92-BDEB3F834037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3CB020-10CB-D247-9419-79BE58506B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D25391D-0555-F04A-AD64-9D10509B64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E09CE8B-E861-8540-998D-CA8F3DC4D0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518717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mages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C4FD4B-0143-44B2-AF27-F38BEA0C9B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BFDAD9-6320-48A9-B45C-F84E2C9833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C83506-EC7E-5F4F-9866-B9EA42BE1A48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855E69-8D16-4484-9996-C9113A3179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F07556-384E-4545-9AB5-A0F93C782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D95A2FD-1DC7-4D29-86A8-51D546E3A2C4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2336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837F4A05-B3B3-429B-B6AF-4AAC8FF0B597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5270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E5C1B1-79BD-4C2B-8DF6-AAAFDC31D4EA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8204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3A1C0D48-6745-44FE-81AC-9E3EB1E2DECC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2336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62FA97E8-4519-4739-B895-55612F78257D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5270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B5432D3A-C3C9-4B63-96CD-241A721F138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8204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1A0F457-BA31-458F-B36F-869F673ADA6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336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5C675381-77C0-419D-99B9-16471F4F9A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270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B33EE2B0-3C6A-4F7E-BD70-00D5834A151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204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DCE95CF4-5CBF-4291-A2EE-D5DE9E6B9DF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336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5D1BABBE-6978-4D02-8163-974D5CE637C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270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6638213F-5B32-4E08-8CF4-7C45D4AFBD8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204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454414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4932729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1" cy="6096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5718000" y="609660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C9BF2E3-EA9C-7F4B-9DDD-A42D8C853D7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13BE3CBF-B0C1-964C-97A5-74D9CF1994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266160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n Images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C4FD4B-0143-44B2-AF27-F38BEA0C9B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377825"/>
            <a:ext cx="11436350" cy="85010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BFDAD9-6320-48A9-B45C-F84E2C9833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84BF03-830B-D644-B48B-9F693DBA2435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855E69-8D16-4484-9996-C9113A3179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F07556-384E-4545-9AB5-A0F93C782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D95A2FD-1DC7-4D29-86A8-51D546E3A2C4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13590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837F4A05-B3B3-429B-B6AF-4AAC8FF0B597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3147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E5C1B1-79BD-4C2B-8DF6-AAAFDC31D4EA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5270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1A0F457-BA31-458F-B36F-869F673ADA6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3590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5C675381-77C0-419D-99B9-16471F4F9A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147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B33EE2B0-3C6A-4F7E-BD70-00D5834A151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270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0F2B2CB-3337-458C-8742-CD64EDBB5A7B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2261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06226EB7-DC79-4415-9F31-120925FC7DB0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91818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8BD9D58A-9730-4689-82FF-3880AD4EB55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2261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84FA9470-3E08-4A55-BB56-6A291847C1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818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74F72C97-0B91-4D13-BC93-502C0DDA63D5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13590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CA834CB8-8309-40CC-85CB-E847DDFEAA88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33147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Picture Placeholder 6">
            <a:extLst>
              <a:ext uri="{FF2B5EF4-FFF2-40B4-BE49-F238E27FC236}">
                <a16:creationId xmlns:a16="http://schemas.microsoft.com/office/drawing/2014/main" id="{A434F088-0196-49C1-B53B-EC3AFBDEA6FB}"/>
              </a:ext>
            </a:extLst>
          </p:cNvPr>
          <p:cNvSpPr>
            <a:spLocks noGrp="1" noChangeAspect="1"/>
          </p:cNvSpPr>
          <p:nvPr>
            <p:ph type="pic" sz="quarter" idx="32"/>
          </p:nvPr>
        </p:nvSpPr>
        <p:spPr>
          <a:xfrm>
            <a:off x="5270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AFE4E092-B0F3-402B-9C53-055B7286B5B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3590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D0EEFE8D-FB7E-4184-B179-6802E6985B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147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13E886F9-8EBE-418C-A9C2-637AD066021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270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4E3663E3-789A-40E1-BABF-D31E612525FE}"/>
              </a:ext>
            </a:extLst>
          </p:cNvPr>
          <p:cNvSpPr>
            <a:spLocks noGrp="1" noChangeAspect="1"/>
          </p:cNvSpPr>
          <p:nvPr>
            <p:ph type="pic" sz="quarter" idx="36"/>
          </p:nvPr>
        </p:nvSpPr>
        <p:spPr>
          <a:xfrm>
            <a:off x="72261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36EF7152-E16E-465A-A125-AF45D3A0E37A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91818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01E7611-82DD-4924-934D-F8701B5CD98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2261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17">
            <a:extLst>
              <a:ext uri="{FF2B5EF4-FFF2-40B4-BE49-F238E27FC236}">
                <a16:creationId xmlns:a16="http://schemas.microsoft.com/office/drawing/2014/main" id="{5E1CA1F3-9B65-483E-B0E7-D4BB7ACD4FC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1818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0638520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5004001"/>
            <a:ext cx="3600000" cy="1377750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8BCA7A-028F-D641-A757-F504556EABEE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96000" y="5004000"/>
            <a:ext cx="3600000" cy="13777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ED3EE21-B105-4761-ACD1-C5BEE2805BD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214175" y="5004000"/>
            <a:ext cx="3600000" cy="13777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814175" cy="4597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749081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1B9233A-DF33-49E3-8950-75A72BB6ABA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877600" y="4597200"/>
            <a:ext cx="3314400" cy="2260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5004000"/>
            <a:ext cx="3600000" cy="1378495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96000" y="5004000"/>
            <a:ext cx="3600000" cy="13777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8877600" cy="4597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B6F0F0A-4199-EB47-811A-FAE05B072BC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3629055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5419" y="0"/>
            <a:ext cx="7200000" cy="638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7754" y="1387799"/>
            <a:ext cx="3596421" cy="1220400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57F6FC-9C5A-8E4F-8F5D-F636A8B9F004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217754" y="2778919"/>
            <a:ext cx="3600000" cy="360283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98B7EDB-B996-BA42-902D-C20ED98AB6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129304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17754" y="0"/>
            <a:ext cx="7200000" cy="638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000" y="1387800"/>
            <a:ext cx="3596421" cy="1221757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A519C7-09B2-174C-A471-73F88209E3BE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78000" y="2778919"/>
            <a:ext cx="3600000" cy="360283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D5E94F0-46CB-FA4D-A7A8-113331E152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4510030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and Cap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F30EF0-1BA1-49CF-B35E-118E146B5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4EA1EC1-92B2-184C-A2CA-ECD7FC77C3B1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E08C3D-9B0C-4E74-9AB5-9E79B44585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9ACBD4-335A-44B8-985A-019168B92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A29767D4-6CBA-4EAD-AEB1-73F0D103F50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2" y="-3332"/>
            <a:ext cx="12192632" cy="6861331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  <a:gd name="connsiteX4" fmla="*/ 0 w 9144000"/>
              <a:gd name="connsiteY4" fmla="*/ 0 h 6858000"/>
              <a:gd name="connsiteX0" fmla="*/ 0 w 9144000"/>
              <a:gd name="connsiteY0" fmla="*/ 4334 h 6862334"/>
              <a:gd name="connsiteX1" fmla="*/ 3826612 w 9144000"/>
              <a:gd name="connsiteY1" fmla="*/ 0 h 6862334"/>
              <a:gd name="connsiteX2" fmla="*/ 9144000 w 9144000"/>
              <a:gd name="connsiteY2" fmla="*/ 4334 h 6862334"/>
              <a:gd name="connsiteX3" fmla="*/ 9144000 w 9144000"/>
              <a:gd name="connsiteY3" fmla="*/ 6862334 h 6862334"/>
              <a:gd name="connsiteX4" fmla="*/ 0 w 9144000"/>
              <a:gd name="connsiteY4" fmla="*/ 6862334 h 6862334"/>
              <a:gd name="connsiteX5" fmla="*/ 0 w 9144000"/>
              <a:gd name="connsiteY5" fmla="*/ 4334 h 6862334"/>
              <a:gd name="connsiteX0" fmla="*/ 4334 w 9148334"/>
              <a:gd name="connsiteY0" fmla="*/ 4334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4334 w 9148334"/>
              <a:gd name="connsiteY6" fmla="*/ 4334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4700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4700 h 6862334"/>
              <a:gd name="connsiteX0" fmla="*/ 3822752 w 9144474"/>
              <a:gd name="connsiteY0" fmla="*/ 3744700 h 6862334"/>
              <a:gd name="connsiteX1" fmla="*/ 3827086 w 9144474"/>
              <a:gd name="connsiteY1" fmla="*/ 0 h 6862334"/>
              <a:gd name="connsiteX2" fmla="*/ 9144474 w 9144474"/>
              <a:gd name="connsiteY2" fmla="*/ 4334 h 6862334"/>
              <a:gd name="connsiteX3" fmla="*/ 9144474 w 9144474"/>
              <a:gd name="connsiteY3" fmla="*/ 6862334 h 6862334"/>
              <a:gd name="connsiteX4" fmla="*/ 474 w 9144474"/>
              <a:gd name="connsiteY4" fmla="*/ 6862334 h 6862334"/>
              <a:gd name="connsiteX5" fmla="*/ 48 w 9144474"/>
              <a:gd name="connsiteY5" fmla="*/ 3744273 h 6862334"/>
              <a:gd name="connsiteX6" fmla="*/ 3822752 w 9144474"/>
              <a:gd name="connsiteY6" fmla="*/ 3744700 h 6862334"/>
              <a:gd name="connsiteX0" fmla="*/ 3818844 w 9144474"/>
              <a:gd name="connsiteY0" fmla="*/ 3744700 h 6862334"/>
              <a:gd name="connsiteX1" fmla="*/ 3827086 w 9144474"/>
              <a:gd name="connsiteY1" fmla="*/ 0 h 6862334"/>
              <a:gd name="connsiteX2" fmla="*/ 9144474 w 9144474"/>
              <a:gd name="connsiteY2" fmla="*/ 4334 h 6862334"/>
              <a:gd name="connsiteX3" fmla="*/ 9144474 w 9144474"/>
              <a:gd name="connsiteY3" fmla="*/ 6862334 h 6862334"/>
              <a:gd name="connsiteX4" fmla="*/ 474 w 9144474"/>
              <a:gd name="connsiteY4" fmla="*/ 6862334 h 6862334"/>
              <a:gd name="connsiteX5" fmla="*/ 48 w 9144474"/>
              <a:gd name="connsiteY5" fmla="*/ 3744273 h 6862334"/>
              <a:gd name="connsiteX6" fmla="*/ 3818844 w 9144474"/>
              <a:gd name="connsiteY6" fmla="*/ 3744700 h 6862334"/>
              <a:gd name="connsiteX0" fmla="*/ 3818844 w 9144474"/>
              <a:gd name="connsiteY0" fmla="*/ 3740792 h 6858426"/>
              <a:gd name="connsiteX1" fmla="*/ 3819270 w 9144474"/>
              <a:gd name="connsiteY1" fmla="*/ 0 h 6858426"/>
              <a:gd name="connsiteX2" fmla="*/ 9144474 w 9144474"/>
              <a:gd name="connsiteY2" fmla="*/ 426 h 6858426"/>
              <a:gd name="connsiteX3" fmla="*/ 9144474 w 9144474"/>
              <a:gd name="connsiteY3" fmla="*/ 6858426 h 6858426"/>
              <a:gd name="connsiteX4" fmla="*/ 474 w 9144474"/>
              <a:gd name="connsiteY4" fmla="*/ 6858426 h 6858426"/>
              <a:gd name="connsiteX5" fmla="*/ 48 w 9144474"/>
              <a:gd name="connsiteY5" fmla="*/ 3740365 h 6858426"/>
              <a:gd name="connsiteX6" fmla="*/ 3818844 w 9144474"/>
              <a:gd name="connsiteY6" fmla="*/ 3740792 h 6858426"/>
              <a:gd name="connsiteX0" fmla="*/ 3818844 w 12163899"/>
              <a:gd name="connsiteY0" fmla="*/ 3740792 h 6858426"/>
              <a:gd name="connsiteX1" fmla="*/ 3819270 w 12163899"/>
              <a:gd name="connsiteY1" fmla="*/ 0 h 6858426"/>
              <a:gd name="connsiteX2" fmla="*/ 12163899 w 12163899"/>
              <a:gd name="connsiteY2" fmla="*/ 426 h 6858426"/>
              <a:gd name="connsiteX3" fmla="*/ 9144474 w 12163899"/>
              <a:gd name="connsiteY3" fmla="*/ 6858426 h 6858426"/>
              <a:gd name="connsiteX4" fmla="*/ 474 w 12163899"/>
              <a:gd name="connsiteY4" fmla="*/ 6858426 h 6858426"/>
              <a:gd name="connsiteX5" fmla="*/ 48 w 12163899"/>
              <a:gd name="connsiteY5" fmla="*/ 3740365 h 6858426"/>
              <a:gd name="connsiteX6" fmla="*/ 3818844 w 12163899"/>
              <a:gd name="connsiteY6" fmla="*/ 3740792 h 6858426"/>
              <a:gd name="connsiteX0" fmla="*/ 3818844 w 12192474"/>
              <a:gd name="connsiteY0" fmla="*/ 3740792 h 6858426"/>
              <a:gd name="connsiteX1" fmla="*/ 3819270 w 12192474"/>
              <a:gd name="connsiteY1" fmla="*/ 0 h 6858426"/>
              <a:gd name="connsiteX2" fmla="*/ 12163899 w 12192474"/>
              <a:gd name="connsiteY2" fmla="*/ 426 h 6858426"/>
              <a:gd name="connsiteX3" fmla="*/ 12192474 w 12192474"/>
              <a:gd name="connsiteY3" fmla="*/ 6858426 h 6858426"/>
              <a:gd name="connsiteX4" fmla="*/ 474 w 12192474"/>
              <a:gd name="connsiteY4" fmla="*/ 6858426 h 6858426"/>
              <a:gd name="connsiteX5" fmla="*/ 48 w 12192474"/>
              <a:gd name="connsiteY5" fmla="*/ 3740365 h 6858426"/>
              <a:gd name="connsiteX6" fmla="*/ 3818844 w 12192474"/>
              <a:gd name="connsiteY6" fmla="*/ 3740792 h 6858426"/>
              <a:gd name="connsiteX0" fmla="*/ 3818844 w 12193696"/>
              <a:gd name="connsiteY0" fmla="*/ 3740792 h 6858426"/>
              <a:gd name="connsiteX1" fmla="*/ 3819270 w 12193696"/>
              <a:gd name="connsiteY1" fmla="*/ 0 h 6858426"/>
              <a:gd name="connsiteX2" fmla="*/ 12193696 w 12193696"/>
              <a:gd name="connsiteY2" fmla="*/ 426 h 6858426"/>
              <a:gd name="connsiteX3" fmla="*/ 12192474 w 12193696"/>
              <a:gd name="connsiteY3" fmla="*/ 6858426 h 6858426"/>
              <a:gd name="connsiteX4" fmla="*/ 474 w 12193696"/>
              <a:gd name="connsiteY4" fmla="*/ 6858426 h 6858426"/>
              <a:gd name="connsiteX5" fmla="*/ 48 w 12193696"/>
              <a:gd name="connsiteY5" fmla="*/ 3740365 h 6858426"/>
              <a:gd name="connsiteX6" fmla="*/ 3818844 w 12193696"/>
              <a:gd name="connsiteY6" fmla="*/ 3740792 h 6858426"/>
              <a:gd name="connsiteX0" fmla="*/ 3818844 w 12193696"/>
              <a:gd name="connsiteY0" fmla="*/ 3740792 h 6858426"/>
              <a:gd name="connsiteX1" fmla="*/ 3819270 w 12193696"/>
              <a:gd name="connsiteY1" fmla="*/ 0 h 6858426"/>
              <a:gd name="connsiteX2" fmla="*/ 12193696 w 12193696"/>
              <a:gd name="connsiteY2" fmla="*/ 426 h 6858426"/>
              <a:gd name="connsiteX3" fmla="*/ 12192474 w 12193696"/>
              <a:gd name="connsiteY3" fmla="*/ 6858426 h 6858426"/>
              <a:gd name="connsiteX4" fmla="*/ 474 w 12193696"/>
              <a:gd name="connsiteY4" fmla="*/ 6858426 h 6858426"/>
              <a:gd name="connsiteX5" fmla="*/ 48 w 12193696"/>
              <a:gd name="connsiteY5" fmla="*/ 3740365 h 6858426"/>
              <a:gd name="connsiteX6" fmla="*/ 3818844 w 12193696"/>
              <a:gd name="connsiteY6" fmla="*/ 3740792 h 6858426"/>
              <a:gd name="connsiteX0" fmla="*/ 3818844 w 12192508"/>
              <a:gd name="connsiteY0" fmla="*/ 3740792 h 6858426"/>
              <a:gd name="connsiteX1" fmla="*/ 3819270 w 12192508"/>
              <a:gd name="connsiteY1" fmla="*/ 0 h 6858426"/>
              <a:gd name="connsiteX2" fmla="*/ 12189971 w 12192508"/>
              <a:gd name="connsiteY2" fmla="*/ 426 h 6858426"/>
              <a:gd name="connsiteX3" fmla="*/ 12192474 w 12192508"/>
              <a:gd name="connsiteY3" fmla="*/ 6858426 h 6858426"/>
              <a:gd name="connsiteX4" fmla="*/ 474 w 12192508"/>
              <a:gd name="connsiteY4" fmla="*/ 6858426 h 6858426"/>
              <a:gd name="connsiteX5" fmla="*/ 48 w 12192508"/>
              <a:gd name="connsiteY5" fmla="*/ 3740365 h 6858426"/>
              <a:gd name="connsiteX6" fmla="*/ 3818844 w 12192508"/>
              <a:gd name="connsiteY6" fmla="*/ 3740792 h 6858426"/>
              <a:gd name="connsiteX0" fmla="*/ 3818844 w 12192633"/>
              <a:gd name="connsiteY0" fmla="*/ 3740792 h 6858426"/>
              <a:gd name="connsiteX1" fmla="*/ 3819270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3818844 w 12192633"/>
              <a:gd name="connsiteY0" fmla="*/ 374079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3818844 w 12192633"/>
              <a:gd name="connsiteY0" fmla="*/ 3740366 h 6858000"/>
              <a:gd name="connsiteX1" fmla="*/ 4590795 w 12192633"/>
              <a:gd name="connsiteY1" fmla="*/ 9099 h 6858000"/>
              <a:gd name="connsiteX2" fmla="*/ 12192633 w 12192633"/>
              <a:gd name="connsiteY2" fmla="*/ 0 h 6858000"/>
              <a:gd name="connsiteX3" fmla="*/ 12192474 w 12192633"/>
              <a:gd name="connsiteY3" fmla="*/ 6858000 h 6858000"/>
              <a:gd name="connsiteX4" fmla="*/ 474 w 12192633"/>
              <a:gd name="connsiteY4" fmla="*/ 6858000 h 6858000"/>
              <a:gd name="connsiteX5" fmla="*/ 48 w 12192633"/>
              <a:gd name="connsiteY5" fmla="*/ 3739939 h 6858000"/>
              <a:gd name="connsiteX6" fmla="*/ 3818844 w 12192633"/>
              <a:gd name="connsiteY6" fmla="*/ 3740366 h 6858000"/>
              <a:gd name="connsiteX0" fmla="*/ 3818844 w 12192633"/>
              <a:gd name="connsiteY0" fmla="*/ 374079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4590369 w 12192633"/>
              <a:gd name="connsiteY0" fmla="*/ 402654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4590369 w 12192633"/>
              <a:gd name="connsiteY6" fmla="*/ 4026542 h 6858426"/>
              <a:gd name="connsiteX0" fmla="*/ 4590017 w 12192281"/>
              <a:gd name="connsiteY0" fmla="*/ 4026542 h 6858426"/>
              <a:gd name="connsiteX1" fmla="*/ 4590443 w 12192281"/>
              <a:gd name="connsiteY1" fmla="*/ 0 h 6858426"/>
              <a:gd name="connsiteX2" fmla="*/ 12192281 w 12192281"/>
              <a:gd name="connsiteY2" fmla="*/ 426 h 6858426"/>
              <a:gd name="connsiteX3" fmla="*/ 12192122 w 12192281"/>
              <a:gd name="connsiteY3" fmla="*/ 6858426 h 6858426"/>
              <a:gd name="connsiteX4" fmla="*/ 122 w 12192281"/>
              <a:gd name="connsiteY4" fmla="*/ 6858426 h 6858426"/>
              <a:gd name="connsiteX5" fmla="*/ 9221 w 12192281"/>
              <a:gd name="connsiteY5" fmla="*/ 4054690 h 6858426"/>
              <a:gd name="connsiteX6" fmla="*/ 4590017 w 12192281"/>
              <a:gd name="connsiteY6" fmla="*/ 4026542 h 6858426"/>
              <a:gd name="connsiteX0" fmla="*/ 4590368 w 12192632"/>
              <a:gd name="connsiteY0" fmla="*/ 4026542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26542 h 6858426"/>
              <a:gd name="connsiteX0" fmla="*/ 4590368 w 12192632"/>
              <a:gd name="connsiteY0" fmla="*/ 4036067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36067 h 6858426"/>
              <a:gd name="connsiteX0" fmla="*/ 4590368 w 12192632"/>
              <a:gd name="connsiteY0" fmla="*/ 4045592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45592 h 6858426"/>
              <a:gd name="connsiteX0" fmla="*/ 4590368 w 12192632"/>
              <a:gd name="connsiteY0" fmla="*/ 4055117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55117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4696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90368 w 12192632"/>
              <a:gd name="connsiteY6" fmla="*/ 4041793 h 6858426"/>
              <a:gd name="connsiteX0" fmla="*/ 4587036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87036 w 12192632"/>
              <a:gd name="connsiteY6" fmla="*/ 4041793 h 6858426"/>
              <a:gd name="connsiteX0" fmla="*/ 4587036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87036 w 12192632"/>
              <a:gd name="connsiteY6" fmla="*/ 4041793 h 6858426"/>
              <a:gd name="connsiteX0" fmla="*/ 4587036 w 12192632"/>
              <a:gd name="connsiteY0" fmla="*/ 4044698 h 6861331"/>
              <a:gd name="connsiteX1" fmla="*/ 4587462 w 12192632"/>
              <a:gd name="connsiteY1" fmla="*/ 2905 h 6861331"/>
              <a:gd name="connsiteX2" fmla="*/ 12192632 w 12192632"/>
              <a:gd name="connsiteY2" fmla="*/ 0 h 6861331"/>
              <a:gd name="connsiteX3" fmla="*/ 12192473 w 12192632"/>
              <a:gd name="connsiteY3" fmla="*/ 6861331 h 6861331"/>
              <a:gd name="connsiteX4" fmla="*/ 473 w 12192632"/>
              <a:gd name="connsiteY4" fmla="*/ 6861331 h 6861331"/>
              <a:gd name="connsiteX5" fmla="*/ 47 w 12192632"/>
              <a:gd name="connsiteY5" fmla="*/ 4044270 h 6861331"/>
              <a:gd name="connsiteX6" fmla="*/ 4587036 w 12192632"/>
              <a:gd name="connsiteY6" fmla="*/ 4044698 h 6861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632" h="6861331">
                <a:moveTo>
                  <a:pt x="4587036" y="4044698"/>
                </a:moveTo>
                <a:cubicBezTo>
                  <a:pt x="4588481" y="2795162"/>
                  <a:pt x="4586017" y="1252441"/>
                  <a:pt x="4587462" y="2905"/>
                </a:cubicBezTo>
                <a:lnTo>
                  <a:pt x="12192632" y="0"/>
                </a:lnTo>
                <a:cubicBezTo>
                  <a:pt x="12192225" y="2286000"/>
                  <a:pt x="12192880" y="4575331"/>
                  <a:pt x="12192473" y="6861331"/>
                </a:cubicBezTo>
                <a:lnTo>
                  <a:pt x="473" y="6861331"/>
                </a:lnTo>
                <a:cubicBezTo>
                  <a:pt x="-972" y="5821977"/>
                  <a:pt x="1492" y="5083624"/>
                  <a:pt x="47" y="4044270"/>
                </a:cubicBezTo>
                <a:lnTo>
                  <a:pt x="4587036" y="40446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17F807A-F369-4FBC-B5EB-675732DA4D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798" y="377826"/>
            <a:ext cx="3860802" cy="30511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003198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D7000A8D-916B-6A46-A8CB-3E48942EBD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F877A01-E9E8-0346-87B6-A50C0F85A296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8429706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55F0808-BBA3-3A41-B407-560B02C099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064" y="142876"/>
            <a:ext cx="2080060" cy="93929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83BC71C-5BC4-4448-9864-CA26E655EAFE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17784586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E3628C8-BDEC-4C4C-BE6D-FF9ED0F5BA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064" y="142876"/>
            <a:ext cx="2080060" cy="93929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7E39A4D-45C0-614F-BA3D-48CE68D5EA38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71130257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accent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CE57F7F5-FC77-425E-A2A6-DDD1D50110B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657175" y="377825"/>
            <a:ext cx="5157000" cy="3981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6A93B3-E055-4858-9A45-84EE75DE5C27}"/>
              </a:ext>
            </a:extLst>
          </p:cNvPr>
          <p:cNvSpPr/>
          <p:nvPr userDrawn="1"/>
        </p:nvSpPr>
        <p:spPr>
          <a:xfrm>
            <a:off x="11814175" y="-175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BC4595B4-A431-E645-B62F-FD05F8FF8E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1489F9C1-FA19-D240-83AC-6F6609C15122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1503296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3107064-D3CA-49F7-8E72-46608079AF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292600" y="4950000"/>
            <a:ext cx="2629000" cy="143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4932729" cy="86809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21600" y="894600"/>
            <a:ext cx="5270400" cy="4057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3914600" y="457380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5FD26272-1046-C440-83DF-DE260B8CF89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BADD38CF-8BDA-4241-92C2-0DB8F25AD8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868309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accent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52807F74-89C1-C74A-9216-F45E8CFC44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1D2148A-3978-D24D-BAB5-940EE414094B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58563676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605570-C002-6A4D-8BF8-3DBE2A5A424A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3797064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01E205-D763-B848-ACFA-ED6174246933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8CCCD6-443C-8B44-878A-06CB094BCE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567692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ogo Slide Te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812C503-F4FA-E449-82E7-E8589FB68D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48076" y="2147778"/>
            <a:ext cx="5556650" cy="250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449501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ogo Slide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4DE5F6E-0235-224E-8AA4-87B78D2BDF0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48076" y="2147778"/>
            <a:ext cx="5556650" cy="250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711995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ogo Slide Whi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CCC95244-134A-B743-9347-7EB93D327E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8076" y="2147777"/>
            <a:ext cx="5556650" cy="2509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928746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9545" y="446259"/>
            <a:ext cx="10962696" cy="1076155"/>
          </a:xfrm>
        </p:spPr>
        <p:txBody>
          <a:bodyPr/>
          <a:lstStyle/>
          <a:p>
            <a:r>
              <a:rPr lang="en-US" dirty="0"/>
              <a:t>&lt;2 column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16720" y="1853399"/>
            <a:ext cx="5266313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619545" y="1853399"/>
            <a:ext cx="5266313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 descr="mrk_ifl_lg_rgb_dkgry_ppt.png"/>
          <p:cNvPicPr>
            <a:picLocks noChangeAspect="1"/>
          </p:cNvPicPr>
          <p:nvPr userDrawn="1"/>
        </p:nvPicPr>
        <p:blipFill>
          <a:blip r:embed="rId2"/>
          <a:srcRect l="8299" t="21858" r="7054" b="21311"/>
          <a:stretch>
            <a:fillRect/>
          </a:stretch>
        </p:blipFill>
        <p:spPr>
          <a:xfrm>
            <a:off x="8516025" y="6194424"/>
            <a:ext cx="2195132" cy="559129"/>
          </a:xfrm>
          <a:prstGeom prst="rect">
            <a:avLst/>
          </a:prstGeom>
        </p:spPr>
      </p:pic>
      <p:pic>
        <p:nvPicPr>
          <p:cNvPr id="8" name="Picture 2" descr="C:\Users\Forringr\AppData\Local\Microsoft\Windows\Temporary Internet Files\Content.Outlook\WRMKZ3N8\MGCDA_ICON_NEW TAG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4545" y="6261034"/>
            <a:ext cx="1133192" cy="493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 userDrawn="1"/>
        </p:nvSpPr>
        <p:spPr>
          <a:xfrm>
            <a:off x="4810439" y="6292349"/>
            <a:ext cx="1515979" cy="4308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r"/>
            <a:r>
              <a:rPr lang="en-US" sz="1400" b="1" kern="600" spc="30" dirty="0">
                <a:solidFill>
                  <a:schemeClr val="accent2"/>
                </a:solidFill>
              </a:rPr>
              <a:t>Global </a:t>
            </a:r>
          </a:p>
          <a:p>
            <a:pPr algn="r"/>
            <a:r>
              <a:rPr lang="en-US" sz="1400" b="1" kern="600" spc="30" dirty="0">
                <a:solidFill>
                  <a:schemeClr val="accent2"/>
                </a:solidFill>
              </a:rPr>
              <a:t>Analytics</a:t>
            </a:r>
          </a:p>
        </p:txBody>
      </p:sp>
      <p:pic>
        <p:nvPicPr>
          <p:cNvPr id="15" name="bjClassifierImageBottom">
            <a:extLst>
              <a:ext uri="{FF2B5EF4-FFF2-40B4-BE49-F238E27FC236}">
                <a16:creationId xmlns:a16="http://schemas.microsoft.com/office/drawing/2014/main" id="{A61F3296-3A60-48B0-8597-AC5CDC2A428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" y="6468336"/>
            <a:ext cx="792549" cy="32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29787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/ 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MRK_FirstPage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-9211" y="-4858"/>
            <a:ext cx="12210420" cy="686771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16754" y="1185905"/>
            <a:ext cx="9298822" cy="2239920"/>
          </a:xfrm>
        </p:spPr>
        <p:txBody>
          <a:bodyPr/>
          <a:lstStyle>
            <a:lvl1pPr>
              <a:lnSpc>
                <a:spcPct val="78000"/>
              </a:lnSpc>
              <a:defRPr sz="4200" cap="all" spc="13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16755" y="5628837"/>
            <a:ext cx="4801849" cy="619563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000" spc="3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&lt;Insert subtitle – optional&gt;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16755" y="5374232"/>
            <a:ext cx="2581947" cy="189351"/>
          </a:xfrm>
        </p:spPr>
        <p:txBody>
          <a:bodyPr/>
          <a:lstStyle>
            <a:lvl1pPr>
              <a:defRPr sz="1400" spc="3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Insert Date Here</a:t>
            </a:r>
          </a:p>
        </p:txBody>
      </p:sp>
    </p:spTree>
    <p:extLst>
      <p:ext uri="{BB962C8B-B14F-4D97-AF65-F5344CB8AC3E}">
        <p14:creationId xmlns:p14="http://schemas.microsoft.com/office/powerpoint/2010/main" val="133236095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divider – Warm Gra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MRK_SubDivider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-9211" y="-4858"/>
            <a:ext cx="12210420" cy="686771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9545" y="2256205"/>
            <a:ext cx="6570528" cy="2345590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3600" b="0" cap="none" spc="5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19545" y="4631270"/>
            <a:ext cx="6570528" cy="138006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rgbClr val="000000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93462" y="5977662"/>
            <a:ext cx="4835583" cy="789128"/>
            <a:chOff x="222030" y="5963374"/>
            <a:chExt cx="4834324" cy="789128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2030" y="5963374"/>
              <a:ext cx="789128" cy="789128"/>
            </a:xfrm>
            <a:prstGeom prst="rect">
              <a:avLst/>
            </a:prstGeom>
            <a:effectLst>
              <a:softEdge rad="38100"/>
            </a:effectLst>
          </p:spPr>
        </p:pic>
        <p:sp>
          <p:nvSpPr>
            <p:cNvPr id="10" name="TextBox 9"/>
            <p:cNvSpPr txBox="1"/>
            <p:nvPr/>
          </p:nvSpPr>
          <p:spPr>
            <a:xfrm>
              <a:off x="1053624" y="6019384"/>
              <a:ext cx="4002730" cy="677108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r>
                <a:rPr lang="en-US" sz="2000" b="1" u="sng" kern="600" spc="30" dirty="0">
                  <a:solidFill>
                    <a:schemeClr val="tx1"/>
                  </a:solidFill>
                  <a:uFill>
                    <a:solidFill>
                      <a:schemeClr val="accent2"/>
                    </a:solidFill>
                  </a:uFill>
                </a:rPr>
                <a:t>CUSTOMER &amp; DATA ANALYTICS</a:t>
              </a:r>
            </a:p>
            <a:p>
              <a:r>
                <a:rPr lang="en-US" sz="1800" b="1" kern="600" spc="3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aking </a:t>
              </a:r>
              <a:r>
                <a:rPr lang="en-US" sz="2400" b="1" kern="600" spc="3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IG</a:t>
              </a:r>
              <a:r>
                <a:rPr lang="en-US" sz="1800" b="1" kern="600" spc="3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Data </a:t>
              </a:r>
              <a:r>
                <a:rPr lang="en-US" sz="1400" b="1" kern="600" spc="3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MAL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9865929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BAD065-03BE-DBBA-B165-19BAC3E3F5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5288EBB-5F6E-F27B-D70C-3A9DA1BBFDA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D49E99-1A24-B54C-9475-801A41BF4F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AB3FD3-6F00-42F2-8ADD-3FDB37D5D98E}" type="datetimeFigureOut">
              <a:rPr lang="en-US" smtClean="0"/>
              <a:t>9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4E7601-B56F-54E6-14F5-593607BA61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7F2D36-8C5C-2DFF-58DC-132AD9BA28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19C74B-3392-474A-B99A-8BC2284E57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4903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3107064-D3CA-49F7-8E72-46608079AF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38600" y="3384000"/>
            <a:ext cx="1913400" cy="1683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4932729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052000" y="0"/>
            <a:ext cx="4140000" cy="3384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7674000" y="600375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902C68CA-982E-4DE8-82EB-BF63660F9C2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52000" y="5067000"/>
            <a:ext cx="1351800" cy="936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54940B72-A25F-DD4E-B080-EF804C93C3E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A9217C54-93DD-8E47-A23F-F97CF894EE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787701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4" y="1228725"/>
            <a:ext cx="9445752" cy="2200275"/>
          </a:xfrm>
        </p:spPr>
        <p:txBody>
          <a:bodyPr anchor="b"/>
          <a:lstStyle>
            <a:lvl1pPr algn="l">
              <a:defRPr sz="425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7824" y="3682800"/>
            <a:ext cx="9445752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E3081D7-228C-7F4B-B2F0-F8F6D2CAB5B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A21D473B-03CC-A840-9172-E75A8523CF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336934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6"/>
            <a:ext cx="11436350" cy="4456111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/>
            </a:lvl1pPr>
            <a:lvl2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>
                <a:solidFill>
                  <a:schemeClr val="bg1">
                    <a:lumMod val="85000"/>
                  </a:schemeClr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 b="1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95877B-9B68-6D4A-BCF8-960EAC37048D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269889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Vertical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7622" y="1925636"/>
            <a:ext cx="2104845" cy="4456114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92599" y="1925636"/>
            <a:ext cx="7521575" cy="4456111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/>
            </a:lvl1pPr>
            <a:lvl2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>
                <a:solidFill>
                  <a:schemeClr val="bg1">
                    <a:lumMod val="85000"/>
                  </a:schemeClr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 b="1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2286A-215E-1447-8183-44810891358B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C476A1C-450C-4513-925D-8391EFA2E70F}"/>
              </a:ext>
            </a:extLst>
          </p:cNvPr>
          <p:cNvCxnSpPr/>
          <p:nvPr userDrawn="1"/>
        </p:nvCxnSpPr>
        <p:spPr>
          <a:xfrm>
            <a:off x="3051313" y="516835"/>
            <a:ext cx="0" cy="596334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979248C1-85D6-0A41-9196-18D936195E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41799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4" y="377825"/>
            <a:ext cx="11439144" cy="85010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fld id="{05972683-51EE-5F41-850D-F4F103575C34}" type="datetime4">
              <a:rPr lang="en-US" smtClean="0"/>
              <a:t>September 18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none" baseline="0">
                <a:solidFill>
                  <a:srgbClr val="9EA7B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4744" y="6480175"/>
            <a:ext cx="229431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rgbClr val="9EA7B3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8B2952-F7B1-FB4B-A859-8048BF0DBB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4904" y="1929384"/>
            <a:ext cx="11439144" cy="445312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10E875C-199D-1849-9C39-2C6C19A6CF53}"/>
              </a:ext>
            </a:extLst>
          </p:cNvPr>
          <p:cNvPicPr>
            <a:picLocks noChangeAspect="1"/>
          </p:cNvPicPr>
          <p:nvPr userDrawn="1"/>
        </p:nvPicPr>
        <p:blipFill>
          <a:blip r:embed="rId6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  <p:sp>
        <p:nvSpPr>
          <p:cNvPr id="3" name="MSIPCMContentMarking" descr="{&quot;HashCode&quot;:239775164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46AA26BA-D8B4-4593-8CCC-FC18C6E052FD}"/>
              </a:ext>
            </a:extLst>
          </p:cNvPr>
          <p:cNvSpPr txBox="1"/>
          <p:nvPr userDrawn="1"/>
        </p:nvSpPr>
        <p:spPr>
          <a:xfrm>
            <a:off x="0" y="0"/>
            <a:ext cx="1018019" cy="2965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1200">
                <a:solidFill>
                  <a:srgbClr val="00B294"/>
                </a:solidFill>
                <a:latin typeface="Calibri" panose="020F0502020204030204" pitchFamily="34" charset="0"/>
              </a:rPr>
              <a:t>Proprietary</a:t>
            </a:r>
            <a:endParaRPr lang="en-US" sz="1200" dirty="0">
              <a:solidFill>
                <a:srgbClr val="00B294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40495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722" r:id="rId8"/>
    <p:sldLayoutId id="2147483723" r:id="rId9"/>
    <p:sldLayoutId id="2147483676" r:id="rId10"/>
    <p:sldLayoutId id="2147483721" r:id="rId11"/>
    <p:sldLayoutId id="2147483724" r:id="rId12"/>
    <p:sldLayoutId id="2147483710" r:id="rId13"/>
    <p:sldLayoutId id="2147483709" r:id="rId14"/>
    <p:sldLayoutId id="2147483691" r:id="rId15"/>
    <p:sldLayoutId id="2147483729" r:id="rId16"/>
    <p:sldLayoutId id="2147483725" r:id="rId17"/>
    <p:sldLayoutId id="2147483701" r:id="rId18"/>
    <p:sldLayoutId id="2147483702" r:id="rId19"/>
    <p:sldLayoutId id="2147483726" r:id="rId20"/>
    <p:sldLayoutId id="2147483728" r:id="rId21"/>
    <p:sldLayoutId id="2147483727" r:id="rId22"/>
    <p:sldLayoutId id="2147483730" r:id="rId23"/>
    <p:sldLayoutId id="2147483731" r:id="rId24"/>
    <p:sldLayoutId id="2147483700" r:id="rId25"/>
    <p:sldLayoutId id="2147483705" r:id="rId26"/>
    <p:sldLayoutId id="2147483704" r:id="rId27"/>
    <p:sldLayoutId id="2147483706" r:id="rId28"/>
    <p:sldLayoutId id="2147483707" r:id="rId29"/>
    <p:sldLayoutId id="2147483703" r:id="rId30"/>
    <p:sldLayoutId id="2147483696" r:id="rId31"/>
    <p:sldLayoutId id="2147483695" r:id="rId32"/>
    <p:sldLayoutId id="2147483697" r:id="rId33"/>
    <p:sldLayoutId id="2147483675" r:id="rId34"/>
    <p:sldLayoutId id="2147483692" r:id="rId35"/>
    <p:sldLayoutId id="2147483693" r:id="rId36"/>
    <p:sldLayoutId id="2147483698" r:id="rId37"/>
    <p:sldLayoutId id="2147483699" r:id="rId38"/>
    <p:sldLayoutId id="2147483689" r:id="rId39"/>
    <p:sldLayoutId id="2147483690" r:id="rId40"/>
    <p:sldLayoutId id="2147483711" r:id="rId41"/>
    <p:sldLayoutId id="2147483715" r:id="rId42"/>
    <p:sldLayoutId id="2147483712" r:id="rId43"/>
    <p:sldLayoutId id="2147483713" r:id="rId44"/>
    <p:sldLayoutId id="2147483714" r:id="rId45"/>
    <p:sldLayoutId id="2147483718" r:id="rId46"/>
    <p:sldLayoutId id="2147483716" r:id="rId47"/>
    <p:sldLayoutId id="2147483717" r:id="rId48"/>
    <p:sldLayoutId id="2147483720" r:id="rId49"/>
    <p:sldLayoutId id="2147483719" r:id="rId50"/>
    <p:sldLayoutId id="2147483678" r:id="rId51"/>
    <p:sldLayoutId id="2147483679" r:id="rId52"/>
    <p:sldLayoutId id="2147483732" r:id="rId53"/>
    <p:sldLayoutId id="2147483733" r:id="rId54"/>
    <p:sldLayoutId id="2147483734" r:id="rId55"/>
    <p:sldLayoutId id="2147483735" r:id="rId56"/>
    <p:sldLayoutId id="2147483738" r:id="rId57"/>
    <p:sldLayoutId id="2147483739" r:id="rId58"/>
    <p:sldLayoutId id="2147483740" r:id="rId59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75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9388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49250" indent="-16986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65138" indent="-11588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581025" indent="-11588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400"/>
        </a:spcAft>
        <a:buFont typeface="Arial" panose="020B0604020202020204" pitchFamily="34" charset="0"/>
        <a:buNone/>
        <a:defRPr lang="en-US" sz="1200" b="1" kern="1200" dirty="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None/>
        <a:defRPr lang="en-US" sz="3000" kern="1200" dirty="0">
          <a:solidFill>
            <a:schemeClr val="accent1"/>
          </a:solidFill>
          <a:latin typeface="+mn-lt"/>
          <a:ea typeface="+mn-ea"/>
          <a:cs typeface="+mn-cs"/>
        </a:defRPr>
      </a:lvl8pPr>
      <a:lvl9pPr marL="3657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238" userDrawn="1">
          <p15:clr>
            <a:srgbClr val="F26B43"/>
          </p15:clr>
        </p15:guide>
        <p15:guide id="4" pos="2511" userDrawn="1">
          <p15:clr>
            <a:srgbClr val="F26B43"/>
          </p15:clr>
        </p15:guide>
        <p15:guide id="5" pos="2704" userDrawn="1">
          <p15:clr>
            <a:srgbClr val="F26B43"/>
          </p15:clr>
        </p15:guide>
        <p15:guide id="6" pos="4977" userDrawn="1">
          <p15:clr>
            <a:srgbClr val="F26B43"/>
          </p15:clr>
        </p15:guide>
        <p15:guide id="7" pos="5169" userDrawn="1">
          <p15:clr>
            <a:srgbClr val="F26B43"/>
          </p15:clr>
        </p15:guide>
        <p15:guide id="8" pos="7442" userDrawn="1">
          <p15:clr>
            <a:srgbClr val="F26B43"/>
          </p15:clr>
        </p15:guide>
        <p15:guide id="9" orient="horz" pos="238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orient="horz" pos="1751" userDrawn="1">
          <p15:clr>
            <a:srgbClr val="F26B43"/>
          </p15:clr>
        </p15:guide>
        <p15:guide id="12" orient="horz" pos="1213" userDrawn="1">
          <p15:clr>
            <a:srgbClr val="F26B43"/>
          </p15:clr>
        </p15:guide>
        <p15:guide id="13" orient="horz" pos="77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5A490D-8D17-414E-B881-9623CBCC1E2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7824" y="1399032"/>
            <a:ext cx="11436351" cy="3346704"/>
          </a:xfrm>
        </p:spPr>
        <p:txBody>
          <a:bodyPr/>
          <a:lstStyle/>
          <a:p>
            <a:r>
              <a:rPr lang="en-GB" dirty="0"/>
              <a:t>Marketing Mix Models</a:t>
            </a:r>
            <a:br>
              <a:rPr lang="en-GB" dirty="0"/>
            </a:br>
            <a:br>
              <a:rPr lang="en-GB" dirty="0"/>
            </a:br>
            <a:r>
              <a:rPr lang="en-GB" sz="2400" dirty="0"/>
              <a:t>Senthil Murugan (Merck) &amp; Sarath Ashokan (</a:t>
            </a:r>
            <a:r>
              <a:rPr lang="en-GB" sz="2400" dirty="0" err="1"/>
              <a:t>Datazymes</a:t>
            </a:r>
            <a:r>
              <a:rPr lang="en-GB" sz="24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260916820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FFAFB676-BD08-9BA0-7A5A-237794FD7AEE}"/>
              </a:ext>
            </a:extLst>
          </p:cNvPr>
          <p:cNvGraphicFramePr>
            <a:graphicFrameLocks noGrp="1"/>
          </p:cNvGraphicFramePr>
          <p:nvPr/>
        </p:nvGraphicFramePr>
        <p:xfrm>
          <a:off x="325010" y="1212845"/>
          <a:ext cx="11714590" cy="4193550"/>
        </p:xfrm>
        <a:graphic>
          <a:graphicData uri="http://schemas.openxmlformats.org/drawingml/2006/table">
            <a:tbl>
              <a:tblPr firstRow="1" bandRow="1"/>
              <a:tblGrid>
                <a:gridCol w="1961460">
                  <a:extLst>
                    <a:ext uri="{9D8B030D-6E8A-4147-A177-3AD203B41FA5}">
                      <a16:colId xmlns:a16="http://schemas.microsoft.com/office/drawing/2014/main" val="2114055193"/>
                    </a:ext>
                  </a:extLst>
                </a:gridCol>
                <a:gridCol w="1661248">
                  <a:extLst>
                    <a:ext uri="{9D8B030D-6E8A-4147-A177-3AD203B41FA5}">
                      <a16:colId xmlns:a16="http://schemas.microsoft.com/office/drawing/2014/main" val="1114603354"/>
                    </a:ext>
                  </a:extLst>
                </a:gridCol>
                <a:gridCol w="1275409">
                  <a:extLst>
                    <a:ext uri="{9D8B030D-6E8A-4147-A177-3AD203B41FA5}">
                      <a16:colId xmlns:a16="http://schemas.microsoft.com/office/drawing/2014/main" val="3898260564"/>
                    </a:ext>
                  </a:extLst>
                </a:gridCol>
                <a:gridCol w="6816473">
                  <a:extLst>
                    <a:ext uri="{9D8B030D-6E8A-4147-A177-3AD203B41FA5}">
                      <a16:colId xmlns:a16="http://schemas.microsoft.com/office/drawing/2014/main" val="2438913573"/>
                    </a:ext>
                  </a:extLst>
                </a:gridCol>
              </a:tblGrid>
              <a:tr h="139797">
                <a:tc>
                  <a:txBody>
                    <a:bodyPr/>
                    <a:lstStyle/>
                    <a:p>
                      <a:pPr lvl="0" algn="ctr"/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motion Type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annel List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asure ROI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ption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242630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CP Non-Personal/Digit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rect Mail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int mail sent to target home/office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8704505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CP Non-Personal/Digit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MR/EHR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lectronic Medical/Health Records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8273066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CP Non-Personal/Digit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wsletters Banners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lectronic - static banners are associated with society and online journals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052407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CP Non-Personal/Digit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-office Media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vertisements on TV in HCPs back office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6523258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CP Non-Personal/Digit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mail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cludes HQ and Third-Party Vendor emails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9403577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CP Non-Personal/Digit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ng Form Programs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-detail, gamification, video</a:t>
                      </a:r>
                      <a:endParaRPr lang="en-US" sz="1100" u="sng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5313258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CP Non-Personal/Digit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ort Form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erts, expand banners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5388430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CP Non-Personal/Digit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 fontAlgn="ctr"/>
                      <a:r>
                        <a:rPr lang="en-US" sz="1100" b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n-Targeted Banner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cludes run-of-site (ROS), interstitial and </a:t>
                      </a:r>
                      <a:r>
                        <a:rPr lang="en-US" sz="11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stitial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4313780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CP Non-Personal/Digit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 fontAlgn="ctr"/>
                      <a:r>
                        <a:rPr lang="en-US" sz="1100" b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rgeted Banner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cludes programmatic, precision, target list, other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4034803"/>
                  </a:ext>
                </a:extLst>
              </a:tr>
              <a:tr h="38355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CP Non-Personal/Digit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ference Media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cludes prints, digital (displays (congress app), banners </a:t>
                      </a:r>
                      <a:r>
                        <a:rPr lang="en-US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congress app)), 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ut-of-Home (OOH | e.g. airport, bus stations), In-Hall (in the conference)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2257669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CP Non-Personal/Digit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ournal Ads (print)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int Media</a:t>
                      </a:r>
                      <a:endParaRPr lang="en-US" sz="11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2733960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CP Non-Personal/Digit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id Search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 defTabSz="914400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arches are paid based on keywords</a:t>
                      </a:r>
                      <a:endParaRPr lang="en-US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6913133"/>
                  </a:ext>
                </a:extLst>
              </a:tr>
              <a:tr h="38355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CP Non-Personal/Digit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textual Search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 defTabSz="914400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m of optimizing web-based search results based on context provided by the user</a:t>
                      </a:r>
                      <a:endParaRPr lang="en-US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8251310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CP Non-Personal/Digit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cial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ceBook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Twitter, Instagram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2455341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8CA46ABE-B9DA-E5BD-5488-3E49A8E4A8CE}"/>
              </a:ext>
            </a:extLst>
          </p:cNvPr>
          <p:cNvSpPr txBox="1"/>
          <p:nvPr/>
        </p:nvSpPr>
        <p:spPr>
          <a:xfrm>
            <a:off x="731520" y="558800"/>
            <a:ext cx="421936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HCP Non-Personal / Digital Promotion</a:t>
            </a:r>
          </a:p>
        </p:txBody>
      </p:sp>
    </p:spTree>
    <p:extLst>
      <p:ext uri="{BB962C8B-B14F-4D97-AF65-F5344CB8AC3E}">
        <p14:creationId xmlns:p14="http://schemas.microsoft.com/office/powerpoint/2010/main" val="27459656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FFAFB676-BD08-9BA0-7A5A-237794FD7AEE}"/>
              </a:ext>
            </a:extLst>
          </p:cNvPr>
          <p:cNvGraphicFramePr>
            <a:graphicFrameLocks noGrp="1"/>
          </p:cNvGraphicFramePr>
          <p:nvPr/>
        </p:nvGraphicFramePr>
        <p:xfrm>
          <a:off x="162450" y="1253485"/>
          <a:ext cx="11714590" cy="2730510"/>
        </p:xfrm>
        <a:graphic>
          <a:graphicData uri="http://schemas.openxmlformats.org/drawingml/2006/table">
            <a:tbl>
              <a:tblPr firstRow="1" bandRow="1"/>
              <a:tblGrid>
                <a:gridCol w="1961460">
                  <a:extLst>
                    <a:ext uri="{9D8B030D-6E8A-4147-A177-3AD203B41FA5}">
                      <a16:colId xmlns:a16="http://schemas.microsoft.com/office/drawing/2014/main" val="2114055193"/>
                    </a:ext>
                  </a:extLst>
                </a:gridCol>
                <a:gridCol w="1661248">
                  <a:extLst>
                    <a:ext uri="{9D8B030D-6E8A-4147-A177-3AD203B41FA5}">
                      <a16:colId xmlns:a16="http://schemas.microsoft.com/office/drawing/2014/main" val="1114603354"/>
                    </a:ext>
                  </a:extLst>
                </a:gridCol>
                <a:gridCol w="1275409">
                  <a:extLst>
                    <a:ext uri="{9D8B030D-6E8A-4147-A177-3AD203B41FA5}">
                      <a16:colId xmlns:a16="http://schemas.microsoft.com/office/drawing/2014/main" val="3898260564"/>
                    </a:ext>
                  </a:extLst>
                </a:gridCol>
                <a:gridCol w="6816473">
                  <a:extLst>
                    <a:ext uri="{9D8B030D-6E8A-4147-A177-3AD203B41FA5}">
                      <a16:colId xmlns:a16="http://schemas.microsoft.com/office/drawing/2014/main" val="2438913573"/>
                    </a:ext>
                  </a:extLst>
                </a:gridCol>
              </a:tblGrid>
              <a:tr h="139797">
                <a:tc>
                  <a:txBody>
                    <a:bodyPr/>
                    <a:lstStyle/>
                    <a:p>
                      <a:pPr lvl="0" algn="ctr"/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motion Type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annel List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asure ROI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ption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242630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sumer Digit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D1C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int of Care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D1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D1C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vertisements in waiting rooms and office visit rooms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D1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6523258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sumer Digit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 fontAlgn="ctr"/>
                      <a:r>
                        <a:rPr lang="en-US" sz="1100" b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splay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nners on web-sites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4313780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sumer Digit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D1C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int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D1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D1C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int Media</a:t>
                      </a:r>
                      <a:endParaRPr lang="en-US" sz="11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D1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2733960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sumer Digit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id Search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 defTabSz="914400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arches using keywords  (e.g. Google &amp; Bing)</a:t>
                      </a:r>
                      <a:endParaRPr lang="en-US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6913133"/>
                  </a:ext>
                </a:extLst>
              </a:tr>
              <a:tr h="38355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sumer Digit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D1C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textual Search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D1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D1C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 defTabSz="914400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form Media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D1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8251310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sumer Digit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 fontAlgn="ctr"/>
                      <a:r>
                        <a:rPr lang="en-US" sz="1100" b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cial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ceBook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Twitter, Instagram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2455341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sumer Digit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D1CE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nline Video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D1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D1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You-Tub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D1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211683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sumer Digit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eaming Video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ver-the-top (OTT) &amp; Full Episode Player (FEP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9796723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sumer Digit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D1CE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near TV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D1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D1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ational TV ad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D1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0879159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874D6DE-5380-C118-09A7-83B1269E7D95}"/>
              </a:ext>
            </a:extLst>
          </p:cNvPr>
          <p:cNvSpPr txBox="1"/>
          <p:nvPr/>
        </p:nvSpPr>
        <p:spPr>
          <a:xfrm>
            <a:off x="731520" y="558800"/>
            <a:ext cx="320068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Consumer Digital Promotion</a:t>
            </a:r>
          </a:p>
        </p:txBody>
      </p:sp>
    </p:spTree>
    <p:extLst>
      <p:ext uri="{BB962C8B-B14F-4D97-AF65-F5344CB8AC3E}">
        <p14:creationId xmlns:p14="http://schemas.microsoft.com/office/powerpoint/2010/main" val="3968904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FFAFB676-BD08-9BA0-7A5A-237794FD7AEE}"/>
              </a:ext>
            </a:extLst>
          </p:cNvPr>
          <p:cNvGraphicFramePr>
            <a:graphicFrameLocks noGrp="1"/>
          </p:cNvGraphicFramePr>
          <p:nvPr/>
        </p:nvGraphicFramePr>
        <p:xfrm>
          <a:off x="238705" y="1436365"/>
          <a:ext cx="11714590" cy="1310640"/>
        </p:xfrm>
        <a:graphic>
          <a:graphicData uri="http://schemas.openxmlformats.org/drawingml/2006/table">
            <a:tbl>
              <a:tblPr firstRow="1" bandRow="1"/>
              <a:tblGrid>
                <a:gridCol w="1961460">
                  <a:extLst>
                    <a:ext uri="{9D8B030D-6E8A-4147-A177-3AD203B41FA5}">
                      <a16:colId xmlns:a16="http://schemas.microsoft.com/office/drawing/2014/main" val="2114055193"/>
                    </a:ext>
                  </a:extLst>
                </a:gridCol>
                <a:gridCol w="1661248">
                  <a:extLst>
                    <a:ext uri="{9D8B030D-6E8A-4147-A177-3AD203B41FA5}">
                      <a16:colId xmlns:a16="http://schemas.microsoft.com/office/drawing/2014/main" val="1114603354"/>
                    </a:ext>
                  </a:extLst>
                </a:gridCol>
                <a:gridCol w="1275409">
                  <a:extLst>
                    <a:ext uri="{9D8B030D-6E8A-4147-A177-3AD203B41FA5}">
                      <a16:colId xmlns:a16="http://schemas.microsoft.com/office/drawing/2014/main" val="3898260564"/>
                    </a:ext>
                  </a:extLst>
                </a:gridCol>
                <a:gridCol w="6816473">
                  <a:extLst>
                    <a:ext uri="{9D8B030D-6E8A-4147-A177-3AD203B41FA5}">
                      <a16:colId xmlns:a16="http://schemas.microsoft.com/office/drawing/2014/main" val="2438913573"/>
                    </a:ext>
                  </a:extLst>
                </a:gridCol>
              </a:tblGrid>
              <a:tr h="139797">
                <a:tc>
                  <a:txBody>
                    <a:bodyPr/>
                    <a:lstStyle/>
                    <a:p>
                      <a:pPr lvl="0" algn="ctr"/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motion Type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annel List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asure ROI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ption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242630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CP Personal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eld Details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Rep Call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4276181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CP Personal/Digital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0E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eld Email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0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0E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Veeva Email by Rep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0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8644387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CP Personal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PO MMF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cal education organized by Group Practice Organization – Lecture Only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5070866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CP Personal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0E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ditional MMF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0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0E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cal education organized by sales force – Lecture, Peer Discussion Group, Symposia 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0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06151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57E8C4F5-0B83-84DF-B04C-976D88C78109}"/>
              </a:ext>
            </a:extLst>
          </p:cNvPr>
          <p:cNvSpPr txBox="1"/>
          <p:nvPr/>
        </p:nvSpPr>
        <p:spPr>
          <a:xfrm>
            <a:off x="772160" y="650240"/>
            <a:ext cx="229505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Personal Promotion</a:t>
            </a:r>
          </a:p>
        </p:txBody>
      </p:sp>
    </p:spTree>
    <p:extLst>
      <p:ext uri="{BB962C8B-B14F-4D97-AF65-F5344CB8AC3E}">
        <p14:creationId xmlns:p14="http://schemas.microsoft.com/office/powerpoint/2010/main" val="3939707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142FDCBF-06C1-468B-B1F2-7B514A2D1BDE}"/>
              </a:ext>
            </a:extLst>
          </p:cNvPr>
          <p:cNvSpPr txBox="1"/>
          <p:nvPr/>
        </p:nvSpPr>
        <p:spPr>
          <a:xfrm>
            <a:off x="17297" y="6325959"/>
            <a:ext cx="175260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1" u="none" strike="noStrike" kern="1200" cap="none" spc="0" normalizeH="0" baseline="0" noProof="0" dirty="0">
                <a:ln>
                  <a:noFill/>
                </a:ln>
                <a:solidFill>
                  <a:srgbClr val="00877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internal use only, not to be shared outside of intended Merck audience. 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BC35ED5-758D-F991-DC95-E0F940FB53A7}"/>
              </a:ext>
            </a:extLst>
          </p:cNvPr>
          <p:cNvSpPr txBox="1">
            <a:spLocks/>
          </p:cNvSpPr>
          <p:nvPr/>
        </p:nvSpPr>
        <p:spPr>
          <a:xfrm>
            <a:off x="990600" y="152400"/>
            <a:ext cx="9296402" cy="83991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1800" b="1" kern="1200" cap="all" baseline="0">
                <a:solidFill>
                  <a:srgbClr val="FFFFFF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877C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Channels and Vendors included in Analysis 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64373CA7-FF92-B0E2-8805-1661D8AE0F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9322329"/>
              </p:ext>
            </p:extLst>
          </p:nvPr>
        </p:nvGraphicFramePr>
        <p:xfrm>
          <a:off x="2704040" y="1295408"/>
          <a:ext cx="5869522" cy="5410192"/>
        </p:xfrm>
        <a:graphic>
          <a:graphicData uri="http://schemas.openxmlformats.org/drawingml/2006/table">
            <a:tbl>
              <a:tblPr/>
              <a:tblGrid>
                <a:gridCol w="1688717">
                  <a:extLst>
                    <a:ext uri="{9D8B030D-6E8A-4147-A177-3AD203B41FA5}">
                      <a16:colId xmlns:a16="http://schemas.microsoft.com/office/drawing/2014/main" val="3884702091"/>
                    </a:ext>
                  </a:extLst>
                </a:gridCol>
                <a:gridCol w="786975">
                  <a:extLst>
                    <a:ext uri="{9D8B030D-6E8A-4147-A177-3AD203B41FA5}">
                      <a16:colId xmlns:a16="http://schemas.microsoft.com/office/drawing/2014/main" val="2777009718"/>
                    </a:ext>
                  </a:extLst>
                </a:gridCol>
                <a:gridCol w="786975">
                  <a:extLst>
                    <a:ext uri="{9D8B030D-6E8A-4147-A177-3AD203B41FA5}">
                      <a16:colId xmlns:a16="http://schemas.microsoft.com/office/drawing/2014/main" val="2257839413"/>
                    </a:ext>
                  </a:extLst>
                </a:gridCol>
                <a:gridCol w="885347">
                  <a:extLst>
                    <a:ext uri="{9D8B030D-6E8A-4147-A177-3AD203B41FA5}">
                      <a16:colId xmlns:a16="http://schemas.microsoft.com/office/drawing/2014/main" val="1429003508"/>
                    </a:ext>
                  </a:extLst>
                </a:gridCol>
                <a:gridCol w="868951">
                  <a:extLst>
                    <a:ext uri="{9D8B030D-6E8A-4147-A177-3AD203B41FA5}">
                      <a16:colId xmlns:a16="http://schemas.microsoft.com/office/drawing/2014/main" val="3078267988"/>
                    </a:ext>
                  </a:extLst>
                </a:gridCol>
                <a:gridCol w="852557">
                  <a:extLst>
                    <a:ext uri="{9D8B030D-6E8A-4147-A177-3AD203B41FA5}">
                      <a16:colId xmlns:a16="http://schemas.microsoft.com/office/drawing/2014/main" val="47211986"/>
                    </a:ext>
                  </a:extLst>
                </a:gridCol>
              </a:tblGrid>
              <a:tr h="22141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endor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er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nner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p Bnnr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Detail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ail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3845777"/>
                  </a:ext>
                </a:extLst>
              </a:tr>
              <a:tr h="22559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ERTMK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6861707"/>
                  </a:ext>
                </a:extLst>
              </a:tr>
              <a:tr h="22559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EPINTEN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59664294"/>
                  </a:ext>
                </a:extLst>
              </a:tr>
              <a:tr h="22559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MD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2169858"/>
                  </a:ext>
                </a:extLst>
              </a:tr>
              <a:tr h="22559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XIMITY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40804"/>
                  </a:ext>
                </a:extLst>
              </a:tr>
              <a:tr h="22559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DH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8284231"/>
                  </a:ext>
                </a:extLst>
              </a:tr>
              <a:tr h="22559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POCRATE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36823866"/>
                  </a:ext>
                </a:extLst>
              </a:tr>
              <a:tr h="22559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YMK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8865812"/>
                  </a:ext>
                </a:extLst>
              </a:tr>
              <a:tr h="22559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CAST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2180178"/>
                  </a:ext>
                </a:extLst>
              </a:tr>
              <a:tr h="22559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ALIO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1096409"/>
                  </a:ext>
                </a:extLst>
              </a:tr>
              <a:tr h="22559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DLIN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0750302"/>
                  </a:ext>
                </a:extLst>
              </a:tr>
              <a:tr h="22559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SCAP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226862"/>
                  </a:ext>
                </a:extLst>
              </a:tr>
              <a:tr h="22559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XGEN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531220"/>
                  </a:ext>
                </a:extLst>
              </a:tr>
              <a:tr h="22559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UMEDI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9554078"/>
                  </a:ext>
                </a:extLst>
              </a:tr>
              <a:tr h="22559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ERDIREC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6669154"/>
                  </a:ext>
                </a:extLst>
              </a:tr>
              <a:tr h="22559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TQ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5296517"/>
                  </a:ext>
                </a:extLst>
              </a:tr>
              <a:tr h="22559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CN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8047612"/>
                  </a:ext>
                </a:extLst>
              </a:tr>
              <a:tr h="22559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CHMD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7455980"/>
                  </a:ext>
                </a:extLst>
              </a:tr>
              <a:tr h="22559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MO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5046764"/>
                  </a:ext>
                </a:extLst>
              </a:tr>
              <a:tr h="22559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FMC/HQ EMAIL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4195678"/>
                  </a:ext>
                </a:extLst>
              </a:tr>
              <a:tr h="22559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IPTA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1354574"/>
                  </a:ext>
                </a:extLst>
              </a:tr>
              <a:tr h="22559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SF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59897"/>
                  </a:ext>
                </a:extLst>
              </a:tr>
              <a:tr h="22559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DC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8364621"/>
                  </a:ext>
                </a:extLst>
              </a:tr>
              <a:tr h="22559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UMEDI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88816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2823379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5A490D-8D17-414E-B881-9623CBCC1E2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7824" y="2212848"/>
            <a:ext cx="11436351" cy="2020824"/>
          </a:xfrm>
        </p:spPr>
        <p:txBody>
          <a:bodyPr/>
          <a:lstStyle/>
          <a:p>
            <a:r>
              <a:rPr lang="en-GB" dirty="0"/>
              <a:t>1. Marketing Mix - Basics and Agenda</a:t>
            </a:r>
            <a:br>
              <a:rPr lang="en-GB" dirty="0"/>
            </a:b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1284516526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Introduction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3A586D4D-F1DA-7078-BB51-13EB99C399D0}"/>
              </a:ext>
            </a:extLst>
          </p:cNvPr>
          <p:cNvSpPr txBox="1"/>
          <p:nvPr/>
        </p:nvSpPr>
        <p:spPr>
          <a:xfrm>
            <a:off x="1170432" y="1545923"/>
            <a:ext cx="9189720" cy="14075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2400" dirty="0"/>
              <a:t>Marketing Mix Modeling is a statistical technique to estimate the impacts of various sales and marketing tactics or promotions that drives the brand sales.</a:t>
            </a:r>
          </a:p>
          <a:p>
            <a:pPr algn="l"/>
            <a:endParaRPr lang="en-US" sz="12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7DFEFF4-6C91-8EE5-DC3A-D5DF4F9DA92A}"/>
              </a:ext>
            </a:extLst>
          </p:cNvPr>
          <p:cNvSpPr txBox="1"/>
          <p:nvPr/>
        </p:nvSpPr>
        <p:spPr>
          <a:xfrm>
            <a:off x="1767840" y="3739896"/>
            <a:ext cx="6968836" cy="1688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800" dirty="0"/>
              <a:t>Used to understand relative performances of various promotional channels / vendors / message contents / promotional campaigns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800" dirty="0"/>
              <a:t>Helps to determine optimal mix of promotional investments</a:t>
            </a:r>
          </a:p>
          <a:p>
            <a:pPr algn="l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793125098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How Promotions Work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E234281-6805-7086-B2E2-75307B10421B}"/>
              </a:ext>
            </a:extLst>
          </p:cNvPr>
          <p:cNvSpPr txBox="1"/>
          <p:nvPr/>
        </p:nvSpPr>
        <p:spPr>
          <a:xfrm>
            <a:off x="187202" y="1460519"/>
            <a:ext cx="11397542" cy="6791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800" dirty="0"/>
              <a:t>Merck researches, gets approval from regulatory agencies, makes and sells multiple brands or products ex: Keytruda, Gardasil, Januvia etc.</a:t>
            </a:r>
          </a:p>
          <a:p>
            <a:pPr algn="l"/>
            <a:endParaRPr lang="en-US" sz="1800" dirty="0"/>
          </a:p>
          <a:p>
            <a:pPr algn="l"/>
            <a:endParaRPr lang="en-US" sz="18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CEB1B63-A045-7CA4-F93A-3862697D8C59}"/>
              </a:ext>
            </a:extLst>
          </p:cNvPr>
          <p:cNvSpPr txBox="1"/>
          <p:nvPr/>
        </p:nvSpPr>
        <p:spPr>
          <a:xfrm>
            <a:off x="6172200" y="2446961"/>
            <a:ext cx="5527259" cy="2950520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600" dirty="0"/>
              <a:t>Patients (Health Care Consumers – HCC) learn more about the brands through Consumer Promotional Channels and these channels are referred as </a:t>
            </a:r>
            <a:r>
              <a:rPr lang="en-US" sz="1600" dirty="0">
                <a:highlight>
                  <a:srgbClr val="FFFF00"/>
                </a:highlight>
              </a:rPr>
              <a:t>HCC Promotions.</a:t>
            </a:r>
          </a:p>
          <a:p>
            <a:pPr algn="l"/>
            <a:endParaRPr lang="en-US" sz="1600" dirty="0"/>
          </a:p>
          <a:p>
            <a:pPr algn="l"/>
            <a:endParaRPr lang="en-US" sz="1600" dirty="0"/>
          </a:p>
          <a:p>
            <a:pPr algn="l"/>
            <a:r>
              <a:rPr lang="en-US" sz="1600" dirty="0"/>
              <a:t>When patients are informed about a brand, they are likely to ask or discuss about it with their HCPs and gives an opportunity for the HCPs to consider prescribing the brand. </a:t>
            </a:r>
          </a:p>
          <a:p>
            <a:pPr algn="l"/>
            <a:endParaRPr lang="en-US" sz="1400" dirty="0"/>
          </a:p>
          <a:p>
            <a:pPr algn="l"/>
            <a:endParaRPr lang="en-US" sz="1400" dirty="0"/>
          </a:p>
          <a:p>
            <a:pPr algn="l"/>
            <a:endParaRPr lang="en-US" sz="14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144134B-6EDD-6D4A-1ECE-192BBBB70BD9}"/>
              </a:ext>
            </a:extLst>
          </p:cNvPr>
          <p:cNvSpPr txBox="1"/>
          <p:nvPr/>
        </p:nvSpPr>
        <p:spPr>
          <a:xfrm>
            <a:off x="492541" y="2388418"/>
            <a:ext cx="4599867" cy="295052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noAutofit/>
          </a:bodyPr>
          <a:lstStyle/>
          <a:p>
            <a:pPr algn="l"/>
            <a:r>
              <a:rPr lang="en-US" sz="1600" dirty="0"/>
              <a:t>Physicians (Health Care Providers – HCPs) will have to be familiar with brand profile, efficacy, safety </a:t>
            </a:r>
            <a:r>
              <a:rPr lang="en-US" sz="1600" dirty="0" err="1"/>
              <a:t>etc</a:t>
            </a:r>
            <a:r>
              <a:rPr lang="en-US" sz="1600" dirty="0"/>
              <a:t>  so that they could prescribe the relevant brands to their patients. </a:t>
            </a:r>
          </a:p>
          <a:p>
            <a:pPr algn="l"/>
            <a:endParaRPr lang="en-US" sz="1600" dirty="0"/>
          </a:p>
          <a:p>
            <a:pPr algn="l"/>
            <a:endParaRPr lang="en-US" sz="1600" dirty="0"/>
          </a:p>
          <a:p>
            <a:pPr algn="l"/>
            <a:r>
              <a:rPr lang="en-US" sz="1600" dirty="0"/>
              <a:t>Such information are provided to physicians through multiple promotional channels and are generally referred to as </a:t>
            </a:r>
            <a:r>
              <a:rPr lang="en-US" sz="1600" dirty="0">
                <a:highlight>
                  <a:srgbClr val="FFFF00"/>
                </a:highlight>
              </a:rPr>
              <a:t>HCP Promotions</a:t>
            </a:r>
          </a:p>
        </p:txBody>
      </p:sp>
      <p:sp>
        <p:nvSpPr>
          <p:cNvPr id="7" name="Wave 6">
            <a:extLst>
              <a:ext uri="{FF2B5EF4-FFF2-40B4-BE49-F238E27FC236}">
                <a16:creationId xmlns:a16="http://schemas.microsoft.com/office/drawing/2014/main" id="{D39D6817-F27E-790F-CAFD-266A5674B713}"/>
              </a:ext>
            </a:extLst>
          </p:cNvPr>
          <p:cNvSpPr/>
          <p:nvPr/>
        </p:nvSpPr>
        <p:spPr>
          <a:xfrm>
            <a:off x="3749040" y="5704746"/>
            <a:ext cx="4270248" cy="914400"/>
          </a:xfrm>
          <a:prstGeom prst="wave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accent4"/>
                </a:solidFill>
              </a:rPr>
              <a:t>Are these promotions effective in driving sales?</a:t>
            </a:r>
          </a:p>
        </p:txBody>
      </p:sp>
    </p:spTree>
    <p:extLst>
      <p:ext uri="{BB962C8B-B14F-4D97-AF65-F5344CB8AC3E}">
        <p14:creationId xmlns:p14="http://schemas.microsoft.com/office/powerpoint/2010/main" val="405247647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HCP and HCC Promotion / Communication Channels</a:t>
            </a:r>
          </a:p>
        </p:txBody>
      </p:sp>
      <p:graphicFrame>
        <p:nvGraphicFramePr>
          <p:cNvPr id="36" name="Table 35">
            <a:extLst>
              <a:ext uri="{FF2B5EF4-FFF2-40B4-BE49-F238E27FC236}">
                <a16:creationId xmlns:a16="http://schemas.microsoft.com/office/drawing/2014/main" id="{68513332-CF2F-D6B5-E296-1EA8A8A888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5372524"/>
              </p:ext>
            </p:extLst>
          </p:nvPr>
        </p:nvGraphicFramePr>
        <p:xfrm>
          <a:off x="731841" y="1373608"/>
          <a:ext cx="3020963" cy="52041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209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14884">
                <a:tc>
                  <a:txBody>
                    <a:bodyPr/>
                    <a:lstStyle/>
                    <a:p>
                      <a:pPr algn="ctr"/>
                      <a:r>
                        <a:rPr lang="en-US" sz="1400" b="1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HCP Channel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D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6460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200" u="sng" dirty="0"/>
                        <a:t>Personal Promotions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Sales Force Rep Calls &amp; Details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Samples / Vouchers / Coupons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Speaker Programs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Lunch Meetings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Merck Medical Forum (Speaker Programs)</a:t>
                      </a:r>
                      <a:endParaRPr lang="en-US" sz="1200" u="sng" dirty="0"/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29546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200" u="sng" baseline="0" dirty="0"/>
                        <a:t>Non-Personal Promotions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/>
                        <a:t>Field Rep Emails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/>
                        <a:t>Headquarter Emails (SFMC)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/>
                        <a:t>Third Party Vendor Emails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/>
                        <a:t>Alerts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/>
                        <a:t>E-Details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/>
                        <a:t>Display / Banners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/>
                        <a:t>HCP Paid Search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/>
                        <a:t>Contextual Search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0156401"/>
                  </a:ext>
                </a:extLst>
              </a:tr>
            </a:tbl>
          </a:graphicData>
        </a:graphic>
      </p:graphicFrame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766F5B7B-9A87-21D8-683C-686D81E4F0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4583711"/>
              </p:ext>
            </p:extLst>
          </p:nvPr>
        </p:nvGraphicFramePr>
        <p:xfrm>
          <a:off x="4279072" y="1373608"/>
          <a:ext cx="3020963" cy="51065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209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91524">
                <a:tc>
                  <a:txBody>
                    <a:bodyPr/>
                    <a:lstStyle/>
                    <a:p>
                      <a:pPr algn="ctr"/>
                      <a:r>
                        <a:rPr lang="en-US" sz="1400" b="1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HCC Channel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D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14043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200" u="sng" dirty="0"/>
                        <a:t>Traditional Media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TV (or Linear TV)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Print Magazines</a:t>
                      </a:r>
                      <a:endParaRPr lang="en-US" sz="1200" baseline="0" dirty="0"/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2146892"/>
                  </a:ext>
                </a:extLst>
              </a:tr>
              <a:tr h="3100999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200" u="sng" baseline="0" dirty="0"/>
                        <a:t>Digital Media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Geo Targeting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Social Media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Digital Radio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Display Banners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Streaming Video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Online Video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Paid Search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Organic Search / Site Visit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endParaRPr lang="en-US" sz="1200" dirty="0"/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B1AF7671-6F33-9A97-D102-585069511A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3621714"/>
              </p:ext>
            </p:extLst>
          </p:nvPr>
        </p:nvGraphicFramePr>
        <p:xfrm>
          <a:off x="7912929" y="1373607"/>
          <a:ext cx="3020963" cy="51065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209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03996">
                <a:tc>
                  <a:txBody>
                    <a:bodyPr/>
                    <a:lstStyle/>
                    <a:p>
                      <a:pPr algn="ctr"/>
                      <a:r>
                        <a:rPr lang="en-US" sz="1400" b="1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ther HCP / HCC Channel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D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47618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200" u="sng" dirty="0"/>
                        <a:t>Point of Care (In-Office)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Waiting Room &amp; Physician Office TV  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Digital Wallboards (HCC an HCPs)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Printed Materials (HCC)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/>
                        <a:t>Posters (HCC)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2146892"/>
                  </a:ext>
                </a:extLst>
              </a:tr>
              <a:tr h="2854953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200" u="sng" baseline="0" dirty="0"/>
                        <a:t>Adherence &amp; EHR programs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Prints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Mobile Alerts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Patient Support Programs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Mails and Banners through Physician and Patient related Health Care Apps &amp; Insurance Companie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4EEC11EF-FFF4-F467-A368-6262B3143C24}"/>
              </a:ext>
            </a:extLst>
          </p:cNvPr>
          <p:cNvSpPr txBox="1"/>
          <p:nvPr/>
        </p:nvSpPr>
        <p:spPr>
          <a:xfrm>
            <a:off x="374904" y="6609066"/>
            <a:ext cx="1801368" cy="21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US" sz="1100" dirty="0"/>
              <a:t>Not an exhaustive list</a:t>
            </a:r>
          </a:p>
        </p:txBody>
      </p:sp>
    </p:spTree>
    <p:extLst>
      <p:ext uri="{BB962C8B-B14F-4D97-AF65-F5344CB8AC3E}">
        <p14:creationId xmlns:p14="http://schemas.microsoft.com/office/powerpoint/2010/main" val="330202443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HCP and HCC Promotion Vendors</a:t>
            </a:r>
          </a:p>
        </p:txBody>
      </p:sp>
      <p:graphicFrame>
        <p:nvGraphicFramePr>
          <p:cNvPr id="36" name="Table 35">
            <a:extLst>
              <a:ext uri="{FF2B5EF4-FFF2-40B4-BE49-F238E27FC236}">
                <a16:creationId xmlns:a16="http://schemas.microsoft.com/office/drawing/2014/main" id="{68513332-CF2F-D6B5-E296-1EA8A8A888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7326221"/>
              </p:ext>
            </p:extLst>
          </p:nvPr>
        </p:nvGraphicFramePr>
        <p:xfrm>
          <a:off x="731841" y="1373608"/>
          <a:ext cx="3020963" cy="45343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209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14884">
                <a:tc>
                  <a:txBody>
                    <a:bodyPr/>
                    <a:lstStyle/>
                    <a:p>
                      <a:pPr algn="ctr"/>
                      <a:r>
                        <a:rPr lang="en-US" sz="1400" b="1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HCP Vendor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D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94788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200" u="sng" dirty="0"/>
                        <a:t>Personal Promotion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dirty="0"/>
                        <a:t>Merck Rep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dirty="0"/>
                        <a:t>Virtual Sales Forc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29546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200" u="sng" baseline="0" dirty="0"/>
                        <a:t>Non-Personal Promotions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/>
                        <a:t>Medscape (email / alert / </a:t>
                      </a:r>
                      <a:r>
                        <a:rPr lang="en-US" sz="1200" baseline="0" dirty="0" err="1"/>
                        <a:t>eDetail</a:t>
                      </a:r>
                      <a:r>
                        <a:rPr lang="en-US" sz="1200" baseline="0" dirty="0"/>
                        <a:t>)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err="1"/>
                        <a:t>Doximity</a:t>
                      </a:r>
                      <a:r>
                        <a:rPr lang="en-US" sz="1200" baseline="0" dirty="0"/>
                        <a:t> (alert)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err="1"/>
                        <a:t>Epocrates</a:t>
                      </a:r>
                      <a:r>
                        <a:rPr lang="en-US" sz="1200" baseline="0" dirty="0"/>
                        <a:t> (alert)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err="1"/>
                        <a:t>Nexgen</a:t>
                      </a:r>
                      <a:r>
                        <a:rPr lang="en-US" sz="1200" baseline="0" dirty="0"/>
                        <a:t> / MNG (email)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err="1"/>
                        <a:t>Numedis</a:t>
                      </a:r>
                      <a:endParaRPr lang="en-US" sz="1200" baseline="0" dirty="0"/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/>
                        <a:t>EDH (Everyday Health)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/>
                        <a:t>Deep Intent (banners)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/>
                        <a:t>HCP Paid Search (WebMD)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0156401"/>
                  </a:ext>
                </a:extLst>
              </a:tr>
            </a:tbl>
          </a:graphicData>
        </a:graphic>
      </p:graphicFrame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766F5B7B-9A87-21D8-683C-686D81E4F0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8838187"/>
              </p:ext>
            </p:extLst>
          </p:nvPr>
        </p:nvGraphicFramePr>
        <p:xfrm>
          <a:off x="4279072" y="1373608"/>
          <a:ext cx="3020963" cy="51065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209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91524">
                <a:tc>
                  <a:txBody>
                    <a:bodyPr/>
                    <a:lstStyle/>
                    <a:p>
                      <a:pPr algn="ctr"/>
                      <a:r>
                        <a:rPr lang="en-US" sz="1400" b="1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HCC Vendor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D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14043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200" u="sng" dirty="0"/>
                        <a:t>Traditional Media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TV  - ABC, CBS, NBC, FOX, CNN </a:t>
                      </a:r>
                      <a:r>
                        <a:rPr lang="en-US" sz="1200" dirty="0" err="1"/>
                        <a:t>etc</a:t>
                      </a:r>
                      <a:endParaRPr lang="en-US" sz="1200" dirty="0"/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Print Magazines – Time, Readers Digest </a:t>
                      </a:r>
                      <a:r>
                        <a:rPr lang="en-US" sz="1200" dirty="0" err="1"/>
                        <a:t>etc</a:t>
                      </a:r>
                      <a:r>
                        <a:rPr lang="en-US" sz="1200" dirty="0"/>
                        <a:t> </a:t>
                      </a:r>
                      <a:endParaRPr lang="en-US" sz="1200" baseline="0" dirty="0"/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2146892"/>
                  </a:ext>
                </a:extLst>
              </a:tr>
              <a:tr h="3100999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200" u="sng" baseline="0" dirty="0"/>
                        <a:t>Digital Media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Social Media – Facebook, Instagram, Twitter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Digital Radio – Pandora, Spotify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Display Banners – Websites like NYTimes </a:t>
                      </a:r>
                      <a:r>
                        <a:rPr lang="en-US" sz="1200" dirty="0" err="1"/>
                        <a:t>etc</a:t>
                      </a:r>
                      <a:endParaRPr lang="en-US" sz="1200" dirty="0"/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Streaming Video – Hulu, HBO </a:t>
                      </a:r>
                      <a:r>
                        <a:rPr lang="en-US" sz="1200" dirty="0" err="1"/>
                        <a:t>etc</a:t>
                      </a:r>
                      <a:endParaRPr lang="en-US" sz="1200" dirty="0"/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Online Video - </a:t>
                      </a:r>
                      <a:r>
                        <a:rPr lang="en-US" sz="1200" dirty="0" err="1"/>
                        <a:t>Youtube</a:t>
                      </a:r>
                      <a:endParaRPr lang="en-US" sz="1200" dirty="0"/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Paid Search – Google, Bing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B1AF7671-6F33-9A97-D102-585069511A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1619132"/>
              </p:ext>
            </p:extLst>
          </p:nvPr>
        </p:nvGraphicFramePr>
        <p:xfrm>
          <a:off x="7912929" y="1373607"/>
          <a:ext cx="3020963" cy="51065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209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03996">
                <a:tc>
                  <a:txBody>
                    <a:bodyPr/>
                    <a:lstStyle/>
                    <a:p>
                      <a:pPr algn="ctr"/>
                      <a:r>
                        <a:rPr lang="en-US" sz="1400" b="1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ther HCP / HCC Vendor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D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47618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200" u="sng" dirty="0"/>
                        <a:t>Point of Care (In-Office)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Patient Point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Checked Up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Target Media Health</a:t>
                      </a:r>
                      <a:endParaRPr lang="en-US" sz="1200" baseline="0" dirty="0"/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2146892"/>
                  </a:ext>
                </a:extLst>
              </a:tr>
              <a:tr h="2854953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200" u="sng" baseline="0" dirty="0"/>
                        <a:t>Adherence &amp; EHR programs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Multiple vendors and electronic health app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FF447507-49B3-8488-20E9-5D50E41F5022}"/>
              </a:ext>
            </a:extLst>
          </p:cNvPr>
          <p:cNvSpPr txBox="1"/>
          <p:nvPr/>
        </p:nvSpPr>
        <p:spPr>
          <a:xfrm>
            <a:off x="390214" y="6285241"/>
            <a:ext cx="3493008" cy="2489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US" sz="1100" dirty="0"/>
              <a:t>Not an exhaustive list. Appendix has additional details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F9A571A-E0CD-6C82-86C4-018C8B81EE53}"/>
              </a:ext>
            </a:extLst>
          </p:cNvPr>
          <p:cNvSpPr txBox="1"/>
          <p:nvPr/>
        </p:nvSpPr>
        <p:spPr>
          <a:xfrm>
            <a:off x="374904" y="6588175"/>
            <a:ext cx="6620255" cy="2489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US" sz="1100" dirty="0"/>
              <a:t>Team Frontiers (previously Initiative) is a vendor who manages most vendors on Merck’s behalf (i.e., media buyer).</a:t>
            </a:r>
          </a:p>
        </p:txBody>
      </p:sp>
    </p:spTree>
    <p:extLst>
      <p:ext uri="{BB962C8B-B14F-4D97-AF65-F5344CB8AC3E}">
        <p14:creationId xmlns:p14="http://schemas.microsoft.com/office/powerpoint/2010/main" val="1660685104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363506-3FF4-1270-CA95-2FA07A3CE8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nsitivity of ROI and Mkt Mix Outpu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A143A2C-115E-B6A8-5503-38C9BB7BB6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7</a:t>
            </a:fld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D74FDEF-657F-A088-655F-322AC8E2CA8D}"/>
              </a:ext>
            </a:extLst>
          </p:cNvPr>
          <p:cNvSpPr txBox="1"/>
          <p:nvPr/>
        </p:nvSpPr>
        <p:spPr>
          <a:xfrm>
            <a:off x="1152144" y="2039698"/>
            <a:ext cx="10296144" cy="41142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2400" dirty="0"/>
              <a:t>ROI, Net Present Values, Incremental Revenues </a:t>
            </a:r>
            <a:r>
              <a:rPr lang="en-US" sz="2400" dirty="0" err="1"/>
              <a:t>etc</a:t>
            </a:r>
            <a:r>
              <a:rPr lang="en-US" sz="2400" dirty="0"/>
              <a:t> are highly sensitive information with very limited audience.</a:t>
            </a:r>
          </a:p>
          <a:p>
            <a:pPr algn="l"/>
            <a:endParaRPr lang="en-US" sz="2400" dirty="0"/>
          </a:p>
          <a:p>
            <a:pPr algn="l"/>
            <a:r>
              <a:rPr lang="en-US" sz="2400" dirty="0"/>
              <a:t>Audiences are determined by Finance and in some cases Legal.</a:t>
            </a:r>
          </a:p>
          <a:p>
            <a:pPr algn="l"/>
            <a:endParaRPr lang="en-US" sz="2400" dirty="0"/>
          </a:p>
          <a:p>
            <a:pPr algn="l"/>
            <a:r>
              <a:rPr lang="en-US" sz="2400" dirty="0"/>
              <a:t>In general Brand Team, DET and Media team only receives information. Some channels like Samples, Vouchers </a:t>
            </a:r>
            <a:r>
              <a:rPr lang="en-US" sz="2400" dirty="0" err="1"/>
              <a:t>etc</a:t>
            </a:r>
            <a:r>
              <a:rPr lang="en-US" sz="2400" dirty="0"/>
              <a:t> are even more restricted.</a:t>
            </a:r>
          </a:p>
          <a:p>
            <a:pPr algn="l"/>
            <a:endParaRPr lang="en-US" sz="2400" dirty="0"/>
          </a:p>
          <a:p>
            <a:pPr algn="l"/>
            <a:r>
              <a:rPr lang="en-US" sz="2400" dirty="0"/>
              <a:t>Check with the IAIO leadership or Finance or Legal teams if in doubt about decimation of Marketing Mix Results.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65439733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363506-3FF4-1270-CA95-2FA07A3CE8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ganization of Training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A143A2C-115E-B6A8-5503-38C9BB7BB6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8</a:t>
            </a:fld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D816BF-51C5-9D6A-1892-E491BC92918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5031" y="1627489"/>
            <a:ext cx="11439144" cy="4453128"/>
          </a:xfrm>
        </p:spPr>
        <p:txBody>
          <a:bodyPr/>
          <a:lstStyle/>
          <a:p>
            <a:pPr marL="228600" indent="-228600">
              <a:buFont typeface="+mj-lt"/>
              <a:buAutoNum type="arabicPeriod"/>
            </a:pPr>
            <a:r>
              <a:rPr lang="en-US" dirty="0"/>
              <a:t>Marketing Mix Models Introduction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Data Extraction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Data Exploration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Data Transformations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Correlations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Model – Part 1 : </a:t>
            </a:r>
            <a:r>
              <a:rPr lang="en-US" dirty="0" err="1"/>
              <a:t>Koyck</a:t>
            </a:r>
            <a:r>
              <a:rPr lang="en-US" dirty="0"/>
              <a:t>, OLS, Data Deviations, Dealing with multicollinearity &amp; error dependencies, Belsomra example. </a:t>
            </a:r>
          </a:p>
          <a:p>
            <a:pPr marL="228600" indent="-228600">
              <a:buFont typeface="+mj-lt"/>
              <a:buAutoNum type="arabicPeriod"/>
            </a:pPr>
            <a:endParaRPr lang="en-US" dirty="0"/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Model – Part 2 : Handling Outliers, Parametric / semi-parametric / non-parametric models, Discussion on response shapes 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Model – Part 3 : Longitudinal (or Panel) Data Analysis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Computing ROIs</a:t>
            </a:r>
          </a:p>
          <a:p>
            <a:pPr marL="228600" indent="-228600">
              <a:buFont typeface="+mj-lt"/>
              <a:buAutoNum type="arabicPeriod"/>
            </a:pPr>
            <a:endParaRPr lang="en-US" dirty="0"/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Brand Complete Walk Through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Practice Session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28B310D-F3A0-7BEA-1001-93128E8698F3}"/>
              </a:ext>
            </a:extLst>
          </p:cNvPr>
          <p:cNvCxnSpPr>
            <a:cxnSpLocks/>
          </p:cNvCxnSpPr>
          <p:nvPr/>
        </p:nvCxnSpPr>
        <p:spPr>
          <a:xfrm flipV="1">
            <a:off x="375029" y="3556620"/>
            <a:ext cx="11082403" cy="9540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5AD012B-EE21-F490-3521-F34C6E01D3E5}"/>
              </a:ext>
            </a:extLst>
          </p:cNvPr>
          <p:cNvCxnSpPr>
            <a:cxnSpLocks/>
          </p:cNvCxnSpPr>
          <p:nvPr/>
        </p:nvCxnSpPr>
        <p:spPr>
          <a:xfrm>
            <a:off x="375030" y="4980162"/>
            <a:ext cx="11082402" cy="0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BFFD3E7-BFF1-60E4-DEB1-EE6AFD07DEDA}"/>
              </a:ext>
            </a:extLst>
          </p:cNvPr>
          <p:cNvCxnSpPr>
            <a:cxnSpLocks/>
          </p:cNvCxnSpPr>
          <p:nvPr/>
        </p:nvCxnSpPr>
        <p:spPr>
          <a:xfrm>
            <a:off x="375029" y="6056233"/>
            <a:ext cx="11082403" cy="24384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2FFFE92-63AB-D330-B48B-FECBD98913C1}"/>
              </a:ext>
            </a:extLst>
          </p:cNvPr>
          <p:cNvSpPr/>
          <p:nvPr/>
        </p:nvSpPr>
        <p:spPr>
          <a:xfrm>
            <a:off x="10296142" y="2315996"/>
            <a:ext cx="1161290" cy="36576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Day 1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AB435A40-1CC0-16B5-6E33-4B1D0D821A49}"/>
              </a:ext>
            </a:extLst>
          </p:cNvPr>
          <p:cNvSpPr/>
          <p:nvPr/>
        </p:nvSpPr>
        <p:spPr>
          <a:xfrm>
            <a:off x="10296142" y="4085511"/>
            <a:ext cx="1161290" cy="36576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Day 2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B7AC9E8-3FAB-82C6-C992-8CC102D0689D}"/>
              </a:ext>
            </a:extLst>
          </p:cNvPr>
          <p:cNvSpPr/>
          <p:nvPr/>
        </p:nvSpPr>
        <p:spPr>
          <a:xfrm>
            <a:off x="10296142" y="5410072"/>
            <a:ext cx="1161290" cy="36576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Day 3 – 3.5</a:t>
            </a:r>
          </a:p>
        </p:txBody>
      </p:sp>
    </p:spTree>
    <p:extLst>
      <p:ext uri="{BB962C8B-B14F-4D97-AF65-F5344CB8AC3E}">
        <p14:creationId xmlns:p14="http://schemas.microsoft.com/office/powerpoint/2010/main" val="2710815996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242020691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heme/theme1.xml><?xml version="1.0" encoding="utf-8"?>
<a:theme xmlns:a="http://schemas.openxmlformats.org/drawingml/2006/main" name="Merck 16:9 PPT Theme">
  <a:themeElements>
    <a:clrScheme name="Custom 30">
      <a:dk1>
        <a:srgbClr val="0C2340"/>
      </a:dk1>
      <a:lt1>
        <a:srgbClr val="FFFFFF"/>
      </a:lt1>
      <a:dk2>
        <a:srgbClr val="688CE8"/>
      </a:dk2>
      <a:lt2>
        <a:srgbClr val="69B8F7"/>
      </a:lt2>
      <a:accent1>
        <a:srgbClr val="00857C"/>
      </a:accent1>
      <a:accent2>
        <a:srgbClr val="6ECEB2"/>
      </a:accent2>
      <a:accent3>
        <a:srgbClr val="BFED33"/>
      </a:accent3>
      <a:accent4>
        <a:srgbClr val="0C2340"/>
      </a:accent4>
      <a:accent5>
        <a:srgbClr val="FFF063"/>
      </a:accent5>
      <a:accent6>
        <a:srgbClr val="5350E4"/>
      </a:accent6>
      <a:hlink>
        <a:srgbClr val="11867B"/>
      </a:hlink>
      <a:folHlink>
        <a:srgbClr val="90C4D8"/>
      </a:folHlink>
    </a:clrScheme>
    <a:fontScheme name="Merck font theme">
      <a:majorFont>
        <a:latin typeface="Invention Light"/>
        <a:ea typeface=""/>
        <a:cs typeface=""/>
      </a:majorFont>
      <a:minorFont>
        <a:latin typeface="Invention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200" dirty="0"/>
        </a:defPPr>
      </a:lstStyle>
    </a:txDef>
  </a:objectDefaults>
  <a:extraClrSchemeLst/>
  <a:custClrLst>
    <a:custClr name="Merck Teal">
      <a:srgbClr val="00857C"/>
    </a:custClr>
    <a:custClr name="White">
      <a:srgbClr val="FFFFFF"/>
    </a:custClr>
    <a:custClr name="Merck Blue">
      <a:srgbClr val="0C2340"/>
    </a:custClr>
    <a:custClr name="Merck Light Teal">
      <a:srgbClr val="6ECEB2"/>
    </a:custClr>
    <a:custClr name="Merck Off-White">
      <a:srgbClr val="F7F7F7"/>
    </a:custClr>
    <a:custClr name="Merck Lime">
      <a:srgbClr val="BFED33"/>
    </a:custClr>
    <a:custClr name="Merck Lemon">
      <a:srgbClr val="FFF063"/>
    </a:custClr>
    <a:custClr name="Merck Pastel Blue">
      <a:srgbClr val="69B8F7"/>
    </a:custClr>
    <a:custClr name="Merck Vista Blue">
      <a:srgbClr val="688CE8"/>
    </a:custClr>
    <a:custClr name="Merck Rich Blue">
      <a:srgbClr val="5450E4"/>
    </a:custClr>
  </a:custClrLst>
  <a:extLst>
    <a:ext uri="{05A4C25C-085E-4340-85A3-A5531E510DB2}">
      <thm15:themeFamily xmlns:thm15="http://schemas.microsoft.com/office/thememl/2012/main" name="16_9_Merck" id="{6816B23C-D596-B641-AC59-82B9DBB69469}" vid="{EF4CFF4B-FCCB-D84B-8F15-5CBFC5300DB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2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EC47AAA0-3E17-4D17-ACCC-88C0FDDDE60C}">
  <we:reference id="e849ddb8-6bbd-4833-bd4b-59030099d63e" version="1.0.0.0" store="EXCatalog" storeType="EXCatalog"/>
  <we:alternateReferences>
    <we:reference id="WA200000113" version="1.0.0.0" store="en-US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FF678FA71510043B195A1786C6312B0" ma:contentTypeVersion="8" ma:contentTypeDescription="Create a new document." ma:contentTypeScope="" ma:versionID="7f6794eae2ab671940660f7552b83b54">
  <xsd:schema xmlns:xsd="http://www.w3.org/2001/XMLSchema" xmlns:xs="http://www.w3.org/2001/XMLSchema" xmlns:p="http://schemas.microsoft.com/office/2006/metadata/properties" xmlns:ns2="4b8faba5-28e6-4bad-b285-1ce4ed480925" xmlns:ns3="0ed980d0-2f8d-42c7-8d66-3c434fc0ea4b" targetNamespace="http://schemas.microsoft.com/office/2006/metadata/properties" ma:root="true" ma:fieldsID="cafbccc572dc2c0e541192a55a97c71c" ns2:_="" ns3:_="">
    <xsd:import namespace="4b8faba5-28e6-4bad-b285-1ce4ed480925"/>
    <xsd:import namespace="0ed980d0-2f8d-42c7-8d66-3c434fc0ea4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8faba5-28e6-4bad-b285-1ce4ed48092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3f5e642b-91f5-4888-b018-43334a040d0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d980d0-2f8d-42c7-8d66-3c434fc0ea4b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f9753bcd-dfeb-40f7-aae0-e49ee8cc79a7}" ma:internalName="TaxCatchAll" ma:showField="CatchAllData" ma:web="0ed980d0-2f8d-42c7-8d66-3c434fc0ea4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b8faba5-28e6-4bad-b285-1ce4ed480925">
      <Terms xmlns="http://schemas.microsoft.com/office/infopath/2007/PartnerControls"/>
    </lcf76f155ced4ddcb4097134ff3c332f>
    <TaxCatchAll xmlns="0ed980d0-2f8d-42c7-8d66-3c434fc0ea4b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5DBAF2B-E805-4C9F-908A-2CFAD1FCDE7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8faba5-28e6-4bad-b285-1ce4ed480925"/>
    <ds:schemaRef ds:uri="0ed980d0-2f8d-42c7-8d66-3c434fc0ea4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A83BC6D-AD32-471F-B528-DB398937D951}">
  <ds:schemaRefs>
    <ds:schemaRef ds:uri="http://schemas.microsoft.com/office/2006/documentManagement/types"/>
    <ds:schemaRef ds:uri="http://www.w3.org/XML/1998/namespace"/>
    <ds:schemaRef ds:uri="http://purl.org/dc/terms/"/>
    <ds:schemaRef ds:uri="4b8faba5-28e6-4bad-b285-1ce4ed480925"/>
    <ds:schemaRef ds:uri="http://schemas.microsoft.com/office/2006/metadata/properties"/>
    <ds:schemaRef ds:uri="http://purl.org/dc/elements/1.1/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0ed980d0-2f8d-42c7-8d66-3c434fc0ea4b"/>
  </ds:schemaRefs>
</ds:datastoreItem>
</file>

<file path=customXml/itemProps3.xml><?xml version="1.0" encoding="utf-8"?>
<ds:datastoreItem xmlns:ds="http://schemas.openxmlformats.org/officeDocument/2006/customXml" ds:itemID="{CA330566-0913-436A-BAE1-E2499F0F0D6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erck 16_9 default PPT template (1)</Template>
  <TotalTime>3836</TotalTime>
  <Words>1298</Words>
  <Application>Microsoft Office PowerPoint</Application>
  <PresentationFormat>Widescreen</PresentationFormat>
  <Paragraphs>402</Paragraphs>
  <Slides>13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Arial Narrow</vt:lpstr>
      <vt:lpstr>Calibri</vt:lpstr>
      <vt:lpstr>Invention</vt:lpstr>
      <vt:lpstr>Invention Light</vt:lpstr>
      <vt:lpstr>Merck 16:9 PPT Theme</vt:lpstr>
      <vt:lpstr>Marketing Mix Models  Senthil Murugan (Merck) &amp; Sarath Ashokan (Datazymes)</vt:lpstr>
      <vt:lpstr>1. Marketing Mix - Basics and Agenda </vt:lpstr>
      <vt:lpstr>PowerPoint Presentation</vt:lpstr>
      <vt:lpstr>PowerPoint Presentation</vt:lpstr>
      <vt:lpstr>PowerPoint Presentation</vt:lpstr>
      <vt:lpstr>PowerPoint Presentation</vt:lpstr>
      <vt:lpstr>Sensitivity of ROI and Mkt Mix Outputs</vt:lpstr>
      <vt:lpstr>Organization of Training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D University</dc:title>
  <dc:subject>2022 presentation</dc:subject>
  <dc:creator>Sinha, Anurag</dc:creator>
  <cp:keywords/>
  <dc:description>For external audiences in the US and Canada</dc:description>
  <cp:lastModifiedBy>Murugan, Senthil</cp:lastModifiedBy>
  <cp:revision>221</cp:revision>
  <dcterms:created xsi:type="dcterms:W3CDTF">2022-11-08T10:28:18Z</dcterms:created>
  <dcterms:modified xsi:type="dcterms:W3CDTF">2023-09-18T19:12:56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FF678FA71510043B195A1786C6312B0</vt:lpwstr>
  </property>
  <property fmtid="{D5CDD505-2E9C-101B-9397-08002B2CF9AE}" pid="3" name="MSIP_Label_927fd646-07cb-4c4e-a107-4e4d6b30ba1b_Enabled">
    <vt:lpwstr>true</vt:lpwstr>
  </property>
  <property fmtid="{D5CDD505-2E9C-101B-9397-08002B2CF9AE}" pid="4" name="MSIP_Label_927fd646-07cb-4c4e-a107-4e4d6b30ba1b_SetDate">
    <vt:lpwstr>2023-02-20T10:11:15Z</vt:lpwstr>
  </property>
  <property fmtid="{D5CDD505-2E9C-101B-9397-08002B2CF9AE}" pid="5" name="MSIP_Label_927fd646-07cb-4c4e-a107-4e4d6b30ba1b_Method">
    <vt:lpwstr>Privileged</vt:lpwstr>
  </property>
  <property fmtid="{D5CDD505-2E9C-101B-9397-08002B2CF9AE}" pid="6" name="MSIP_Label_927fd646-07cb-4c4e-a107-4e4d6b30ba1b_Name">
    <vt:lpwstr>927fd646-07cb-4c4e-a107-4e4d6b30ba1b</vt:lpwstr>
  </property>
  <property fmtid="{D5CDD505-2E9C-101B-9397-08002B2CF9AE}" pid="7" name="MSIP_Label_927fd646-07cb-4c4e-a107-4e4d6b30ba1b_SiteId">
    <vt:lpwstr>a00de4ec-48a8-43a6-be74-e31274e2060d</vt:lpwstr>
  </property>
  <property fmtid="{D5CDD505-2E9C-101B-9397-08002B2CF9AE}" pid="8" name="MSIP_Label_927fd646-07cb-4c4e-a107-4e4d6b30ba1b_ActionId">
    <vt:lpwstr>327d2cb7-7ab1-4f63-99d4-4d87d73f3514</vt:lpwstr>
  </property>
  <property fmtid="{D5CDD505-2E9C-101B-9397-08002B2CF9AE}" pid="9" name="MSIP_Label_927fd646-07cb-4c4e-a107-4e4d6b30ba1b_ContentBits">
    <vt:lpwstr>1</vt:lpwstr>
  </property>
  <property fmtid="{D5CDD505-2E9C-101B-9397-08002B2CF9AE}" pid="10" name="MerckAIPLabel">
    <vt:lpwstr>Proprietary</vt:lpwstr>
  </property>
  <property fmtid="{D5CDD505-2E9C-101B-9397-08002B2CF9AE}" pid="11" name="MerckAIPDataExchange">
    <vt:lpwstr>!MRKMIP@Proprietary</vt:lpwstr>
  </property>
</Properties>
</file>